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  <p:sldMasterId id="2147483689" r:id="rId4"/>
  </p:sldMasterIdLst>
  <p:notesMasterIdLst>
    <p:notesMasterId r:id="rId13"/>
  </p:notesMasterIdLst>
  <p:sldIdLst>
    <p:sldId id="1322" r:id="rId5"/>
    <p:sldId id="1418" r:id="rId6"/>
    <p:sldId id="1323" r:id="rId7"/>
    <p:sldId id="1373" r:id="rId8"/>
    <p:sldId id="1420" r:id="rId9"/>
    <p:sldId id="1385" r:id="rId10"/>
    <p:sldId id="1421" r:id="rId11"/>
    <p:sldId id="286" r:id="rId12"/>
  </p:sldIdLst>
  <p:sldSz cx="12192000" cy="6858000"/>
  <p:notesSz cx="6858000" cy="9144000"/>
  <p:custDataLst>
    <p:tags r:id="rId1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DC678D0-D051-4F37-9A7C-45E0E3BE916E}">
          <p14:sldIdLst>
            <p14:sldId id="1322"/>
            <p14:sldId id="1418"/>
            <p14:sldId id="1323"/>
            <p14:sldId id="1373"/>
            <p14:sldId id="1420"/>
            <p14:sldId id="1385"/>
            <p14:sldId id="1421"/>
            <p14:sldId id="286"/>
          </p14:sldIdLst>
        </p14:section>
        <p14:section name="Appendix" id="{9916D341-4948-445D-83CC-824559C2F5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064">
          <p15:clr>
            <a:srgbClr val="A4A3A4"/>
          </p15:clr>
        </p15:guide>
        <p15:guide id="2" pos="3977">
          <p15:clr>
            <a:srgbClr val="A4A3A4"/>
          </p15:clr>
        </p15:guide>
      </p15:sldGuideLst>
    </p:ext>
    <p:ext uri="http://customooxmlschemas.google.com/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119" roundtripDataSignature="AMtx7mjFEWsPWnmskcRBm8K2kJnRdxPC4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dran, Nanda" initials="CN" lastIdx="2" clrIdx="0">
    <p:extLst>
      <p:ext uri="{19B8F6BF-5375-455C-9EA6-DF929625EA0E}">
        <p15:presenceInfo xmlns:p15="http://schemas.microsoft.com/office/powerpoint/2012/main" userId="S::Nanda_Chandran@pharmaessentia.com::d634ce4a-604b-4274-a590-ba500a82e8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0303"/>
    <a:srgbClr val="808080"/>
    <a:srgbClr val="575252"/>
    <a:srgbClr val="DE5482"/>
    <a:srgbClr val="FF6600"/>
    <a:srgbClr val="EC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4B432A-DAAE-45B4-925E-232861F8A2FB}">
  <a:tblStyle styleId="{E14B432A-DAAE-45B4-925E-232861F8A2FB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7E9"/>
          </a:solidFill>
        </a:fill>
      </a:tcStyle>
    </a:wholeTbl>
    <a:band1H>
      <a:tcTxStyle/>
      <a:tcStyle>
        <a:tcBdr/>
        <a:fill>
          <a:solidFill>
            <a:srgbClr val="EDCBD1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DCBD1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589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2064"/>
        <p:guide pos="39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2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0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24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123" Type="http://schemas.openxmlformats.org/officeDocument/2006/relationships/theme" Target="theme/theme1.xml"/><Relationship Id="rId5" Type="http://schemas.openxmlformats.org/officeDocument/2006/relationships/slide" Target="slides/slide1.xml"/><Relationship Id="rId119" Type="http://customschemas.google.com/relationships/presentationmetadata" Target="metadata"/><Relationship Id="rId10" Type="http://schemas.openxmlformats.org/officeDocument/2006/relationships/slide" Target="slides/slide6.xml"/><Relationship Id="rId122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" name="Google Shape;315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56" name="Google Shape;31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8006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4" name="Google Shape;9494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495" name="Google Shape;949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30920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9" name="Google Shape;373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0" name="Google Shape;374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4782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02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bg>
      <p:bgPr>
        <a:solidFill>
          <a:schemeClr val="lt1"/>
        </a:solidFill>
        <a:effectLst/>
      </p:bgPr>
    </p:bg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5" name="Google Shape;1745;p62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46" name="Google Shape;1746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47" name="Google Shape;1747;p62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48" name="Google Shape;1748;p62"/>
          <p:cNvSpPr>
            <a:spLocks noGrp="1"/>
          </p:cNvSpPr>
          <p:nvPr>
            <p:ph type="pic" idx="2"/>
          </p:nvPr>
        </p:nvSpPr>
        <p:spPr>
          <a:xfrm>
            <a:off x="621792" y="1152144"/>
            <a:ext cx="10978514" cy="5097834"/>
          </a:xfrm>
          <a:prstGeom prst="rect">
            <a:avLst/>
          </a:prstGeom>
          <a:noFill/>
          <a:ln>
            <a:noFill/>
          </a:ln>
        </p:spPr>
      </p:sp>
      <p:sp>
        <p:nvSpPr>
          <p:cNvPr id="1749" name="Google Shape;1749;p62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0" name="Google Shape;1750;p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1" name="Google Shape;1751;p62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3" name="Google Shape;1753;p62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ACF8FBBF-62B6-B32A-AAA4-6CCFC460E3F9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72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88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1638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020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35428426-A54F-0701-399F-9654EA3627B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8958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9561029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4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9768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BF4C7BC7-DA8E-7A0A-D05B-92F78A49E80B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5538578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ounded Rectangle 81">
            <a:extLst>
              <a:ext uri="{FF2B5EF4-FFF2-40B4-BE49-F238E27FC236}">
                <a16:creationId xmlns:a16="http://schemas.microsoft.com/office/drawing/2014/main" id="{199DB5BB-AB5C-8039-13F9-1E64F13016F7}"/>
              </a:ext>
            </a:extLst>
          </p:cNvPr>
          <p:cNvSpPr/>
          <p:nvPr userDrawn="1"/>
        </p:nvSpPr>
        <p:spPr>
          <a:xfrm>
            <a:off x="5714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5" name="Rounded Rectangle 81">
            <a:extLst>
              <a:ext uri="{FF2B5EF4-FFF2-40B4-BE49-F238E27FC236}">
                <a16:creationId xmlns:a16="http://schemas.microsoft.com/office/drawing/2014/main" id="{B3D5CE2E-CF92-B9D9-CEE8-AEA41B2FD209}"/>
              </a:ext>
            </a:extLst>
          </p:cNvPr>
          <p:cNvSpPr/>
          <p:nvPr userDrawn="1"/>
        </p:nvSpPr>
        <p:spPr>
          <a:xfrm>
            <a:off x="44195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7" name="Rounded Rectangle 81">
            <a:extLst>
              <a:ext uri="{FF2B5EF4-FFF2-40B4-BE49-F238E27FC236}">
                <a16:creationId xmlns:a16="http://schemas.microsoft.com/office/drawing/2014/main" id="{B1507AE9-CF2C-1679-47FB-B70131636C3E}"/>
              </a:ext>
            </a:extLst>
          </p:cNvPr>
          <p:cNvSpPr/>
          <p:nvPr userDrawn="1"/>
        </p:nvSpPr>
        <p:spPr>
          <a:xfrm>
            <a:off x="82676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14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195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67701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7" name="Picture Placeholder 9">
            <a:extLst>
              <a:ext uri="{FF2B5EF4-FFF2-40B4-BE49-F238E27FC236}">
                <a16:creationId xmlns:a16="http://schemas.microsoft.com/office/drawing/2014/main" id="{1817FE76-5DE8-BA2A-8ADD-3E7ED69922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31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8" name="Picture Placeholder 9">
            <a:extLst>
              <a:ext uri="{FF2B5EF4-FFF2-40B4-BE49-F238E27FC236}">
                <a16:creationId xmlns:a16="http://schemas.microsoft.com/office/drawing/2014/main" id="{CDCCDD54-C92C-6288-E430-89ABE5FEB41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6512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9" name="Picture Placeholder 9">
            <a:extLst>
              <a:ext uri="{FF2B5EF4-FFF2-40B4-BE49-F238E27FC236}">
                <a16:creationId xmlns:a16="http://schemas.microsoft.com/office/drawing/2014/main" id="{3E88C78C-0468-0247-540E-FC20946E6EF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499401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8" name="Google Shape;1087;p29">
            <a:extLst>
              <a:ext uri="{FF2B5EF4-FFF2-40B4-BE49-F238E27FC236}">
                <a16:creationId xmlns:a16="http://schemas.microsoft.com/office/drawing/2014/main" id="{AC8C124C-07B1-1C1D-03B0-03A73BE625F3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256778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>
              <a:alphaModFix amt="75000"/>
            </a:blip>
            <a:srcRect/>
            <a:stretch>
              <a:fillRect t="-22080" b="-93964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EDA7E7CC-96F5-3624-C75C-8F207D760CE8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9401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416A881-ABD6-8A33-6B22-A65186AC775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70150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1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1" name="Google Shape;1091;p52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408" y="607475"/>
            <a:ext cx="2000192" cy="602704"/>
          </a:xfrm>
          <a:prstGeom prst="rect">
            <a:avLst/>
          </a:prstGeom>
          <a:noFill/>
          <a:ln>
            <a:noFill/>
          </a:ln>
        </p:spPr>
      </p:pic>
      <p:sp>
        <p:nvSpPr>
          <p:cNvPr id="1092" name="Google Shape;1092;p52"/>
          <p:cNvSpPr txBox="1">
            <a:spLocks noGrp="1"/>
          </p:cNvSpPr>
          <p:nvPr>
            <p:ph type="ctrTitle"/>
          </p:nvPr>
        </p:nvSpPr>
        <p:spPr>
          <a:xfrm>
            <a:off x="641408" y="2601821"/>
            <a:ext cx="4686899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" name="Google Shape;1093;p52"/>
          <p:cNvSpPr txBox="1">
            <a:spLocks noGrp="1"/>
          </p:cNvSpPr>
          <p:nvPr>
            <p:ph type="subTitle" idx="1"/>
          </p:nvPr>
        </p:nvSpPr>
        <p:spPr>
          <a:xfrm>
            <a:off x="641408" y="3922990"/>
            <a:ext cx="468689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95" name="Google Shape;1095;p52"/>
          <p:cNvGrpSpPr/>
          <p:nvPr/>
        </p:nvGrpSpPr>
        <p:grpSpPr>
          <a:xfrm>
            <a:off x="5782108" y="0"/>
            <a:ext cx="6409892" cy="6858000"/>
            <a:chOff x="5734050" y="117476"/>
            <a:chExt cx="6267450" cy="6705600"/>
          </a:xfrm>
        </p:grpSpPr>
        <p:sp>
          <p:nvSpPr>
            <p:cNvPr id="1096" name="Google Shape;1096;p52"/>
            <p:cNvSpPr/>
            <p:nvPr/>
          </p:nvSpPr>
          <p:spPr>
            <a:xfrm>
              <a:off x="8543925" y="117476"/>
              <a:ext cx="3457575" cy="6705600"/>
            </a:xfrm>
            <a:custGeom>
              <a:avLst/>
              <a:gdLst/>
              <a:ahLst/>
              <a:cxnLst/>
              <a:rect l="l" t="t" r="r" b="b"/>
              <a:pathLst>
                <a:path w="203" h="394" extrusionOk="0">
                  <a:moveTo>
                    <a:pt x="203" y="0"/>
                  </a:moveTo>
                  <a:cubicBezTo>
                    <a:pt x="203" y="394"/>
                    <a:pt x="203" y="394"/>
                    <a:pt x="203" y="394"/>
                  </a:cubicBezTo>
                  <a:cubicBezTo>
                    <a:pt x="0" y="394"/>
                    <a:pt x="0" y="394"/>
                    <a:pt x="0" y="394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367"/>
                    <a:pt x="9" y="356"/>
                    <a:pt x="22" y="354"/>
                  </a:cubicBezTo>
                  <a:cubicBezTo>
                    <a:pt x="100" y="343"/>
                    <a:pt x="159" y="277"/>
                    <a:pt x="159" y="197"/>
                  </a:cubicBezTo>
                  <a:cubicBezTo>
                    <a:pt x="159" y="117"/>
                    <a:pt x="100" y="51"/>
                    <a:pt x="22" y="40"/>
                  </a:cubicBezTo>
                  <a:cubicBezTo>
                    <a:pt x="9" y="38"/>
                    <a:pt x="0" y="26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7" name="Google Shape;1097;p52"/>
            <p:cNvSpPr/>
            <p:nvPr/>
          </p:nvSpPr>
          <p:spPr>
            <a:xfrm>
              <a:off x="5835650" y="763588"/>
              <a:ext cx="2708275" cy="5413375"/>
            </a:xfrm>
            <a:custGeom>
              <a:avLst/>
              <a:gdLst/>
              <a:ahLst/>
              <a:cxnLst/>
              <a:rect l="l" t="t" r="r" b="b"/>
              <a:pathLst>
                <a:path w="159" h="318" extrusionOk="0">
                  <a:moveTo>
                    <a:pt x="20" y="159"/>
                  </a:moveTo>
                  <a:cubicBezTo>
                    <a:pt x="20" y="233"/>
                    <a:pt x="77" y="293"/>
                    <a:pt x="149" y="298"/>
                  </a:cubicBezTo>
                  <a:cubicBezTo>
                    <a:pt x="155" y="298"/>
                    <a:pt x="159" y="302"/>
                    <a:pt x="159" y="308"/>
                  </a:cubicBezTo>
                  <a:cubicBezTo>
                    <a:pt x="159" y="308"/>
                    <a:pt x="159" y="308"/>
                    <a:pt x="159" y="308"/>
                  </a:cubicBezTo>
                  <a:cubicBezTo>
                    <a:pt x="159" y="313"/>
                    <a:pt x="154" y="318"/>
                    <a:pt x="148" y="318"/>
                  </a:cubicBezTo>
                  <a:cubicBezTo>
                    <a:pt x="65" y="312"/>
                    <a:pt x="0" y="243"/>
                    <a:pt x="0" y="159"/>
                  </a:cubicBezTo>
                  <a:cubicBezTo>
                    <a:pt x="0" y="75"/>
                    <a:pt x="65" y="6"/>
                    <a:pt x="148" y="0"/>
                  </a:cubicBezTo>
                  <a:cubicBezTo>
                    <a:pt x="154" y="0"/>
                    <a:pt x="159" y="4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6"/>
                    <a:pt x="155" y="20"/>
                    <a:pt x="149" y="20"/>
                  </a:cubicBezTo>
                  <a:cubicBezTo>
                    <a:pt x="77" y="25"/>
                    <a:pt x="20" y="85"/>
                    <a:pt x="20" y="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8" name="Google Shape;1098;p52"/>
            <p:cNvSpPr/>
            <p:nvPr/>
          </p:nvSpPr>
          <p:spPr>
            <a:xfrm>
              <a:off x="5784850" y="401478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2" y="3"/>
                    <a:pt x="32" y="5"/>
                    <a:pt x="3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9" name="Google Shape;1099;p52"/>
            <p:cNvSpPr/>
            <p:nvPr/>
          </p:nvSpPr>
          <p:spPr>
            <a:xfrm>
              <a:off x="5734050" y="3521076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3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0" name="Google Shape;1100;p52"/>
            <p:cNvSpPr/>
            <p:nvPr/>
          </p:nvSpPr>
          <p:spPr>
            <a:xfrm>
              <a:off x="5749925" y="3776663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1" y="4"/>
                    <a:pt x="3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1" name="Google Shape;1101;p52"/>
            <p:cNvSpPr/>
            <p:nvPr/>
          </p:nvSpPr>
          <p:spPr>
            <a:xfrm>
              <a:off x="5734050" y="3300413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7"/>
                  </a:moveTo>
                  <a:cubicBezTo>
                    <a:pt x="0" y="4"/>
                    <a:pt x="0" y="2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4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2" name="Google Shape;1102;p52"/>
            <p:cNvSpPr/>
            <p:nvPr/>
          </p:nvSpPr>
          <p:spPr>
            <a:xfrm>
              <a:off x="5749925" y="3044826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7"/>
                  </a:moveTo>
                  <a:cubicBezTo>
                    <a:pt x="0" y="5"/>
                    <a:pt x="0" y="2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2"/>
                    <a:pt x="30" y="5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3" name="Google Shape;1103;p52"/>
            <p:cNvSpPr/>
            <p:nvPr/>
          </p:nvSpPr>
          <p:spPr>
            <a:xfrm>
              <a:off x="5784850" y="278923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7"/>
                  </a:moveTo>
                  <a:cubicBezTo>
                    <a:pt x="1" y="5"/>
                    <a:pt x="1" y="3"/>
                    <a:pt x="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3"/>
                    <a:pt x="32" y="5"/>
                    <a:pt x="31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pic>
        <p:nvPicPr>
          <p:cNvPr id="1104" name="Google Shape;1104;p52"/>
          <p:cNvPicPr preferRelativeResize="0"/>
          <p:nvPr/>
        </p:nvPicPr>
        <p:blipFill rotWithShape="1">
          <a:blip r:embed="rId3">
            <a:alphaModFix/>
          </a:blip>
          <a:srcRect l="45198" r="9270"/>
          <a:stretch/>
        </p:blipFill>
        <p:spPr>
          <a:xfrm>
            <a:off x="6431938" y="1213883"/>
            <a:ext cx="4429102" cy="4430234"/>
          </a:xfrm>
          <a:prstGeom prst="ellipse">
            <a:avLst/>
          </a:prstGeom>
          <a:noFill/>
          <a:ln>
            <a:noFill/>
          </a:ln>
        </p:spPr>
      </p:pic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9357BCF4-EE80-04CD-69DC-BAB8BC873B54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D3340C8-5BAC-2239-05DC-743E21ABCAB4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45240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E48850B9-E53E-57D9-076B-71206CE7BC4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9915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>
              <a:alphaModFix/>
            </a:blip>
            <a:srcRect l="21461" r="25692" b="15812"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21B4165-715B-3D29-8948-EC75E597B696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506147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>
            <a:alphaModFix/>
          </a:blip>
          <a:srcRect t="25577" b="8799"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7554E3-9DC8-DFEF-B344-B0F4DE096CFE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666918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bg>
      <p:bgPr>
        <a:solidFill>
          <a:schemeClr val="lt1"/>
        </a:solidFill>
        <a:effectLst/>
      </p:bgPr>
    </p:bg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1" name="Google Shape;1641;p55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42" name="Google Shape;164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43" name="Google Shape;1643;p55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44" name="Google Shape;1644;p55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5" name="Google Shape;1645;p5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6" name="Google Shape;1646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47" name="Google Shape;1647;p5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9" name="Google Shape;1649;p5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3" name="Google Shape;1087;p29">
            <a:extLst>
              <a:ext uri="{FF2B5EF4-FFF2-40B4-BE49-F238E27FC236}">
                <a16:creationId xmlns:a16="http://schemas.microsoft.com/office/drawing/2014/main" id="{67F89210-4C14-8A44-2135-C77638EDB49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458349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bg>
      <p:bgPr>
        <a:solidFill>
          <a:schemeClr val="lt1"/>
        </a:solidFill>
        <a:effectLst/>
      </p:bgPr>
    </p:bg>
    <p:spTree>
      <p:nvGrpSpPr>
        <p:cNvPr id="1" name="Shape 1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1" name="Google Shape;1651;p56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52" name="Google Shape;1652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53" name="Google Shape;1653;p56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54" name="Google Shape;1654;p5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255417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5" name="Google Shape;1655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56" name="Google Shape;1656;p5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58" name="Google Shape;1658;p56"/>
          <p:cNvSpPr/>
          <p:nvPr/>
        </p:nvSpPr>
        <p:spPr>
          <a:xfrm>
            <a:off x="6298116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59" name="Google Shape;1659;p56"/>
          <p:cNvSpPr txBox="1">
            <a:spLocks noGrp="1"/>
          </p:cNvSpPr>
          <p:nvPr>
            <p:ph type="body" idx="1"/>
          </p:nvPr>
        </p:nvSpPr>
        <p:spPr>
          <a:xfrm>
            <a:off x="6298117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0" name="Google Shape;1660;p56"/>
          <p:cNvSpPr/>
          <p:nvPr/>
        </p:nvSpPr>
        <p:spPr>
          <a:xfrm>
            <a:off x="6196591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1" name="Google Shape;1661;p56"/>
          <p:cNvSpPr txBox="1">
            <a:spLocks noGrp="1"/>
          </p:cNvSpPr>
          <p:nvPr>
            <p:ph type="body" idx="2"/>
          </p:nvPr>
        </p:nvSpPr>
        <p:spPr>
          <a:xfrm>
            <a:off x="6298117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56"/>
          <p:cNvSpPr txBox="1">
            <a:spLocks noGrp="1"/>
          </p:cNvSpPr>
          <p:nvPr>
            <p:ph type="body" idx="3"/>
          </p:nvPr>
        </p:nvSpPr>
        <p:spPr>
          <a:xfrm>
            <a:off x="6201348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3" name="Google Shape;1663;p56"/>
          <p:cNvSpPr>
            <a:spLocks noGrp="1"/>
          </p:cNvSpPr>
          <p:nvPr>
            <p:ph type="pic" idx="4"/>
          </p:nvPr>
        </p:nvSpPr>
        <p:spPr>
          <a:xfrm>
            <a:off x="7905750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64" name="Google Shape;1664;p56"/>
          <p:cNvSpPr/>
          <p:nvPr/>
        </p:nvSpPr>
        <p:spPr>
          <a:xfrm>
            <a:off x="920737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5" name="Google Shape;1665;p56"/>
          <p:cNvSpPr txBox="1">
            <a:spLocks noGrp="1"/>
          </p:cNvSpPr>
          <p:nvPr>
            <p:ph type="body" idx="5"/>
          </p:nvPr>
        </p:nvSpPr>
        <p:spPr>
          <a:xfrm>
            <a:off x="920738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6" name="Google Shape;1666;p56"/>
          <p:cNvSpPr/>
          <p:nvPr/>
        </p:nvSpPr>
        <p:spPr>
          <a:xfrm>
            <a:off x="825503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7" name="Google Shape;1667;p56"/>
          <p:cNvSpPr txBox="1">
            <a:spLocks noGrp="1"/>
          </p:cNvSpPr>
          <p:nvPr>
            <p:ph type="body" idx="6"/>
          </p:nvPr>
        </p:nvSpPr>
        <p:spPr>
          <a:xfrm>
            <a:off x="920738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8" name="Google Shape;1668;p56"/>
          <p:cNvSpPr txBox="1">
            <a:spLocks noGrp="1"/>
          </p:cNvSpPr>
          <p:nvPr>
            <p:ph type="body" idx="7"/>
          </p:nvPr>
        </p:nvSpPr>
        <p:spPr>
          <a:xfrm>
            <a:off x="823969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9" name="Google Shape;1669;p56"/>
          <p:cNvSpPr>
            <a:spLocks noGrp="1"/>
          </p:cNvSpPr>
          <p:nvPr>
            <p:ph type="pic" idx="8"/>
          </p:nvPr>
        </p:nvSpPr>
        <p:spPr>
          <a:xfrm>
            <a:off x="2528371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0" name="Google Shape;1670;p56"/>
          <p:cNvSpPr/>
          <p:nvPr/>
        </p:nvSpPr>
        <p:spPr>
          <a:xfrm>
            <a:off x="3601139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1" name="Google Shape;1671;p56"/>
          <p:cNvSpPr txBox="1">
            <a:spLocks noGrp="1"/>
          </p:cNvSpPr>
          <p:nvPr>
            <p:ph type="body" idx="9"/>
          </p:nvPr>
        </p:nvSpPr>
        <p:spPr>
          <a:xfrm>
            <a:off x="3601140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Font typeface="Arial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56"/>
          <p:cNvSpPr/>
          <p:nvPr/>
        </p:nvSpPr>
        <p:spPr>
          <a:xfrm>
            <a:off x="3511047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3" name="Google Shape;1673;p56"/>
          <p:cNvSpPr txBox="1">
            <a:spLocks noGrp="1"/>
          </p:cNvSpPr>
          <p:nvPr>
            <p:ph type="body" idx="13"/>
          </p:nvPr>
        </p:nvSpPr>
        <p:spPr>
          <a:xfrm>
            <a:off x="3601140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4" name="Google Shape;1674;p56"/>
          <p:cNvSpPr txBox="1">
            <a:spLocks noGrp="1"/>
          </p:cNvSpPr>
          <p:nvPr>
            <p:ph type="body" idx="14"/>
          </p:nvPr>
        </p:nvSpPr>
        <p:spPr>
          <a:xfrm>
            <a:off x="3504371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5" name="Google Shape;1675;p56"/>
          <p:cNvSpPr>
            <a:spLocks noGrp="1"/>
          </p:cNvSpPr>
          <p:nvPr>
            <p:ph type="pic" idx="15"/>
          </p:nvPr>
        </p:nvSpPr>
        <p:spPr>
          <a:xfrm>
            <a:off x="5208773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6" name="Google Shape;1676;p56"/>
          <p:cNvSpPr/>
          <p:nvPr/>
        </p:nvSpPr>
        <p:spPr>
          <a:xfrm>
            <a:off x="8977368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7" name="Google Shape;1677;p56"/>
          <p:cNvSpPr txBox="1">
            <a:spLocks noGrp="1"/>
          </p:cNvSpPr>
          <p:nvPr>
            <p:ph type="body" idx="16"/>
          </p:nvPr>
        </p:nvSpPr>
        <p:spPr>
          <a:xfrm>
            <a:off x="8977369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8" name="Google Shape;1678;p56"/>
          <p:cNvSpPr/>
          <p:nvPr/>
        </p:nvSpPr>
        <p:spPr>
          <a:xfrm>
            <a:off x="8882134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9" name="Google Shape;1679;p56"/>
          <p:cNvSpPr txBox="1">
            <a:spLocks noGrp="1"/>
          </p:cNvSpPr>
          <p:nvPr>
            <p:ph type="body" idx="17"/>
          </p:nvPr>
        </p:nvSpPr>
        <p:spPr>
          <a:xfrm>
            <a:off x="8977369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0" name="Google Shape;1680;p56"/>
          <p:cNvSpPr txBox="1">
            <a:spLocks noGrp="1"/>
          </p:cNvSpPr>
          <p:nvPr>
            <p:ph type="body" idx="18"/>
          </p:nvPr>
        </p:nvSpPr>
        <p:spPr>
          <a:xfrm>
            <a:off x="8880600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1" name="Google Shape;1681;p56"/>
          <p:cNvSpPr>
            <a:spLocks noGrp="1"/>
          </p:cNvSpPr>
          <p:nvPr>
            <p:ph type="pic" idx="19"/>
          </p:nvPr>
        </p:nvSpPr>
        <p:spPr>
          <a:xfrm>
            <a:off x="10585002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82" name="Google Shape;1682;p56"/>
          <p:cNvSpPr txBox="1">
            <a:spLocks noGrp="1"/>
          </p:cNvSpPr>
          <p:nvPr>
            <p:ph type="body" idx="20"/>
          </p:nvPr>
        </p:nvSpPr>
        <p:spPr>
          <a:xfrm>
            <a:off x="920738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56"/>
          <p:cNvSpPr txBox="1">
            <a:spLocks noGrp="1"/>
          </p:cNvSpPr>
          <p:nvPr>
            <p:ph type="body" idx="21"/>
          </p:nvPr>
        </p:nvSpPr>
        <p:spPr>
          <a:xfrm>
            <a:off x="3601140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4" name="Google Shape;1684;p56"/>
          <p:cNvSpPr txBox="1">
            <a:spLocks noGrp="1"/>
          </p:cNvSpPr>
          <p:nvPr>
            <p:ph type="body" idx="22"/>
          </p:nvPr>
        </p:nvSpPr>
        <p:spPr>
          <a:xfrm>
            <a:off x="6298117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5" name="Google Shape;1685;p56"/>
          <p:cNvSpPr txBox="1">
            <a:spLocks noGrp="1"/>
          </p:cNvSpPr>
          <p:nvPr>
            <p:ph type="body" idx="23"/>
          </p:nvPr>
        </p:nvSpPr>
        <p:spPr>
          <a:xfrm>
            <a:off x="8977369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5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D683155-9509-43B7-7929-38B96E964627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762181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bg>
      <p:bgPr>
        <a:solidFill>
          <a:schemeClr val="lt1"/>
        </a:solidFill>
        <a:effectLst/>
      </p:bgPr>
    </p:bg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8" name="Google Shape;1688;p57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89" name="Google Shape;1689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90" name="Google Shape;1690;p57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91" name="Google Shape;1691;p57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92" name="Google Shape;1692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93" name="Google Shape;1693;p57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5" name="Google Shape;1695;p57"/>
          <p:cNvSpPr>
            <a:spLocks noGrp="1"/>
          </p:cNvSpPr>
          <p:nvPr>
            <p:ph type="pic" idx="2"/>
          </p:nvPr>
        </p:nvSpPr>
        <p:spPr>
          <a:xfrm>
            <a:off x="2362200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6" name="Google Shape;1696;p57"/>
          <p:cNvSpPr>
            <a:spLocks noGrp="1"/>
          </p:cNvSpPr>
          <p:nvPr>
            <p:ph type="pic" idx="3"/>
          </p:nvPr>
        </p:nvSpPr>
        <p:spPr>
          <a:xfrm>
            <a:off x="6100339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7" name="Google Shape;1697;p57"/>
          <p:cNvSpPr>
            <a:spLocks noGrp="1"/>
          </p:cNvSpPr>
          <p:nvPr>
            <p:ph type="pic" idx="4"/>
          </p:nvPr>
        </p:nvSpPr>
        <p:spPr>
          <a:xfrm>
            <a:off x="9807998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8" name="Google Shape;1698;p57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1991453-F70D-724D-A23C-F9D1FE70E10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67500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bg>
      <p:bgPr>
        <a:solidFill>
          <a:schemeClr val="lt1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p5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01" name="Google Shape;170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02" name="Google Shape;1702;p5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03" name="Google Shape;1703;p58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58"/>
          <p:cNvSpPr>
            <a:spLocks noGrp="1"/>
          </p:cNvSpPr>
          <p:nvPr>
            <p:ph type="chart" idx="2"/>
          </p:nvPr>
        </p:nvSpPr>
        <p:spPr>
          <a:xfrm>
            <a:off x="6200813" y="1152245"/>
            <a:ext cx="5384636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05" name="Google Shape;1705;p58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06" name="Google Shape;1706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5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" name="Google Shape;1709;p58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0" name="Google Shape;1710;p5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4AFC1EC4-7C30-CE2B-75E0-0B442014963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89251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92492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bg>
      <p:bgPr>
        <a:solidFill>
          <a:schemeClr val="lt1"/>
        </a:solidFill>
        <a:effectLst/>
      </p:bgPr>
    </p:bg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4" name="Google Shape;1724;p60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25" name="Google Shape;1725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26" name="Google Shape;1726;p60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27" name="Google Shape;1727;p60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2274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8" name="Google Shape;1728;p60"/>
          <p:cNvSpPr>
            <a:spLocks noGrp="1"/>
          </p:cNvSpPr>
          <p:nvPr>
            <p:ph type="chart" idx="2"/>
          </p:nvPr>
        </p:nvSpPr>
        <p:spPr>
          <a:xfrm>
            <a:off x="618089" y="3500581"/>
            <a:ext cx="10967360" cy="2741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29" name="Google Shape;1729;p60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30" name="Google Shape;1730;p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31" name="Google Shape;1731;p6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33" name="Google Shape;1733;p6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FA3BFF8-4796-1226-A46D-D7B71A1B593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983381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bg>
      <p:bgPr>
        <a:solidFill>
          <a:schemeClr val="lt1"/>
        </a:solidFill>
        <a:effectLst/>
      </p:bgPr>
    </p:bg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5" name="Google Shape;1745;p62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46" name="Google Shape;1746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47" name="Google Shape;1747;p62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48" name="Google Shape;1748;p62"/>
          <p:cNvSpPr>
            <a:spLocks noGrp="1"/>
          </p:cNvSpPr>
          <p:nvPr>
            <p:ph type="pic" idx="2"/>
          </p:nvPr>
        </p:nvSpPr>
        <p:spPr>
          <a:xfrm>
            <a:off x="621792" y="1152144"/>
            <a:ext cx="10978514" cy="5097834"/>
          </a:xfrm>
          <a:prstGeom prst="rect">
            <a:avLst/>
          </a:prstGeom>
          <a:noFill/>
          <a:ln>
            <a:noFill/>
          </a:ln>
        </p:spPr>
      </p:sp>
      <p:sp>
        <p:nvSpPr>
          <p:cNvPr id="1749" name="Google Shape;1749;p62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0" name="Google Shape;1750;p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1" name="Google Shape;1751;p62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3" name="Google Shape;1753;p62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ACF8FBBF-62B6-B32A-AAA4-6CCFC460E3F9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55733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71002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 cstate="print">
              <a:alphaModFix amt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811E659C-732D-9BB0-84BF-3C4E0779C4A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4180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53523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590853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758228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814942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820901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005950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45688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6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8000"/>
          </a:blip>
          <a:srcRect l="756" r="7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8652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9" b="78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90019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7251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81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355602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3298600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6241598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26315" y="3691426"/>
            <a:ext cx="2310374" cy="86177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69781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12686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66420AF-A2C6-8BEB-8B49-E436B1247089}"/>
              </a:ext>
            </a:extLst>
          </p:cNvPr>
          <p:cNvSpPr>
            <a:spLocks noGrp="1"/>
          </p:cNvSpPr>
          <p:nvPr userDrawn="1">
            <p:ph type="pic" sz="quarter" idx="23"/>
          </p:nvPr>
        </p:nvSpPr>
        <p:spPr>
          <a:xfrm>
            <a:off x="9184597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F935C07-A2FD-EC74-C445-62A67840F6B4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9355592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781C5E85-9ADE-EED0-A84B-28FAA0B3D1B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6457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">
  <p:cSld name="11_Title Slid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oogle Shape;31;p21"/>
          <p:cNvGrpSpPr/>
          <p:nvPr/>
        </p:nvGrpSpPr>
        <p:grpSpPr>
          <a:xfrm rot="10800000">
            <a:off x="-1521801" y="-1248075"/>
            <a:ext cx="5848979" cy="5709390"/>
            <a:chOff x="7397166" y="1622082"/>
            <a:chExt cx="5848979" cy="5709390"/>
          </a:xfrm>
        </p:grpSpPr>
        <p:sp>
          <p:nvSpPr>
            <p:cNvPr id="32" name="Google Shape;32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3" name="Google Shape;33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4" name="Google Shape;34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5" name="Google Shape;35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6" name="Google Shape;36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7" name="Google Shape;37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8" name="Google Shape;38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9" name="Google Shape;39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0" name="Google Shape;40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1" name="Google Shape;41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2" name="Google Shape;42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3" name="Google Shape;43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4" name="Google Shape;44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5" name="Google Shape;45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6" name="Google Shape;46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7" name="Google Shape;47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8" name="Google Shape;48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9" name="Google Shape;49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0" name="Google Shape;50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1" name="Google Shape;51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2" name="Google Shape;52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3" name="Google Shape;53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4" name="Google Shape;54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" name="Google Shape;55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" name="Google Shape;56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" name="Google Shape;57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" name="Google Shape;58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" name="Google Shape;59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" name="Google Shape;60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" name="Google Shape;61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" name="Google Shape;62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" name="Google Shape;63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" name="Google Shape;64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" name="Google Shape;65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" name="Google Shape;66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" name="Google Shape;67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8" name="Google Shape;68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9" name="Google Shape;69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0" name="Google Shape;70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1" name="Google Shape;71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2" name="Google Shape;72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3" name="Google Shape;73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4" name="Google Shape;74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5" name="Google Shape;75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6" name="Google Shape;76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7" name="Google Shape;77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8" name="Google Shape;78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9" name="Google Shape;79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0" name="Google Shape;80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1" name="Google Shape;81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2" name="Google Shape;82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3" name="Google Shape;83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4" name="Google Shape;84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5" name="Google Shape;85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6" name="Google Shape;86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7" name="Google Shape;87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8" name="Google Shape;88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9" name="Google Shape;89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0" name="Google Shape;90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1" name="Google Shape;91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2" name="Google Shape;92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3" name="Google Shape;93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4" name="Google Shape;94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5" name="Google Shape;95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6" name="Google Shape;96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7" name="Google Shape;97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8" name="Google Shape;98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9" name="Google Shape;99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0" name="Google Shape;100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1" name="Google Shape;101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2" name="Google Shape;102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3" name="Google Shape;103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4" name="Google Shape;104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5" name="Google Shape;105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6" name="Google Shape;106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7" name="Google Shape;107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8" name="Google Shape;108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" name="Google Shape;109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" name="Google Shape;110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1" name="Google Shape;111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2" name="Google Shape;112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3" name="Google Shape;113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4" name="Google Shape;114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5" name="Google Shape;115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6" name="Google Shape;116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7" name="Google Shape;117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8" name="Google Shape;118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9" name="Google Shape;119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0" name="Google Shape;120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1" name="Google Shape;121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2" name="Google Shape;122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" name="Google Shape;123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" name="Google Shape;124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" name="Google Shape;125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" name="Google Shape;126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" name="Google Shape;127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" name="Google Shape;128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" name="Google Shape;129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" name="Google Shape;130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" name="Google Shape;131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" name="Google Shape;132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" name="Google Shape;133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" name="Google Shape;134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" name="Google Shape;135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" name="Google Shape;136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" name="Google Shape;137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" name="Google Shape;138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" name="Google Shape;139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" name="Google Shape;140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" name="Google Shape;141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" name="Google Shape;142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" name="Google Shape;143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" name="Google Shape;144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" name="Google Shape;145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" name="Google Shape;146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" name="Google Shape;147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" name="Google Shape;148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" name="Google Shape;149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" name="Google Shape;150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" name="Google Shape;151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" name="Google Shape;152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3" name="Google Shape;153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154" name="Google Shape;154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" name="Google Shape;155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" name="Google Shape;156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" name="Google Shape;157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" name="Google Shape;158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" name="Google Shape;159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0" name="Google Shape;160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1" name="Google Shape;161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2" name="Google Shape;162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3" name="Google Shape;163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4" name="Google Shape;164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5" name="Google Shape;165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6" name="Google Shape;166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7" name="Google Shape;167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8" name="Google Shape;168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9" name="Google Shape;169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0" name="Google Shape;170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1" name="Google Shape;171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2" name="Google Shape;172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3" name="Google Shape;173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4" name="Google Shape;174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5" name="Google Shape;175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6" name="Google Shape;176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7" name="Google Shape;177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8" name="Google Shape;178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9" name="Google Shape;179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0" name="Google Shape;180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1" name="Google Shape;181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2" name="Google Shape;182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3" name="Google Shape;183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4" name="Google Shape;184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5" name="Google Shape;185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6" name="Google Shape;186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7" name="Google Shape;187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8" name="Google Shape;188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9" name="Google Shape;189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0" name="Google Shape;190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1" name="Google Shape;191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2" name="Google Shape;192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3" name="Google Shape;193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4" name="Google Shape;194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5" name="Google Shape;195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6" name="Google Shape;196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7" name="Google Shape;197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8" name="Google Shape;198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9" name="Google Shape;199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0" name="Google Shape;200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1" name="Google Shape;201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2" name="Google Shape;202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3" name="Google Shape;203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4" name="Google Shape;204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5" name="Google Shape;205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6" name="Google Shape;206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7" name="Google Shape;207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8" name="Google Shape;208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9" name="Google Shape;209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0" name="Google Shape;210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2" name="Google Shape;212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3" name="Google Shape;213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4" name="Google Shape;214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5" name="Google Shape;215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6" name="Google Shape;216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7" name="Google Shape;217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8" name="Google Shape;218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9" name="Google Shape;219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0" name="Google Shape;220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1" name="Google Shape;221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2" name="Google Shape;222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3" name="Google Shape;223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4" name="Google Shape;224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5" name="Google Shape;225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6" name="Google Shape;226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7" name="Google Shape;227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8" name="Google Shape;228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9" name="Google Shape;229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0" name="Google Shape;230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1" name="Google Shape;231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2" name="Google Shape;232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3" name="Google Shape;233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4" name="Google Shape;234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5" name="Google Shape;235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6" name="Google Shape;236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7" name="Google Shape;237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8" name="Google Shape;238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9" name="Google Shape;239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0" name="Google Shape;240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1" name="Google Shape;241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2" name="Google Shape;242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3" name="Google Shape;243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4" name="Google Shape;244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5" name="Google Shape;245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6" name="Google Shape;246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7" name="Google Shape;247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8" name="Google Shape;248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9" name="Google Shape;249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0" name="Google Shape;250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1" name="Google Shape;251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2" name="Google Shape;252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3" name="Google Shape;253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4" name="Google Shape;254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5" name="Google Shape;255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6" name="Google Shape;256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7" name="Google Shape;257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8" name="Google Shape;258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9" name="Google Shape;259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0" name="Google Shape;260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1" name="Google Shape;261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2" name="Google Shape;262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3" name="Google Shape;263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4" name="Google Shape;264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5" name="Google Shape;265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6" name="Google Shape;266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7" name="Google Shape;267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8" name="Google Shape;268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9" name="Google Shape;269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0" name="Google Shape;270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1" name="Google Shape;271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2" name="Google Shape;272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3" name="Google Shape;273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4" name="Google Shape;274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5" name="Google Shape;275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6" name="Google Shape;276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7" name="Google Shape;277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8" name="Google Shape;278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9" name="Google Shape;279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0" name="Google Shape;280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1" name="Google Shape;281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2" name="Google Shape;282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3" name="Google Shape;283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4" name="Google Shape;284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5" name="Google Shape;285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6" name="Google Shape;286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7" name="Google Shape;287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8" name="Google Shape;288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9" name="Google Shape;289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0" name="Google Shape;290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1" name="Google Shape;291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2" name="Google Shape;292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3" name="Google Shape;293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4" name="Google Shape;294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5" name="Google Shape;295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6" name="Google Shape;296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7" name="Google Shape;297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8" name="Google Shape;298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9" name="Google Shape;299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0" name="Google Shape;300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1" name="Google Shape;301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2" name="Google Shape;302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3" name="Google Shape;303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4" name="Google Shape;304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5" name="Google Shape;305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6" name="Google Shape;306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7" name="Google Shape;307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8" name="Google Shape;308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9" name="Google Shape;309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0" name="Google Shape;310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1" name="Google Shape;311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2" name="Google Shape;312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3" name="Google Shape;313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4" name="Google Shape;314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5" name="Google Shape;315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6" name="Google Shape;316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7" name="Google Shape;317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8" name="Google Shape;318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9" name="Google Shape;319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0" name="Google Shape;320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1" name="Google Shape;321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2" name="Google Shape;322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3" name="Google Shape;323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4" name="Google Shape;324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5" name="Google Shape;325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6" name="Google Shape;326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7" name="Google Shape;327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8" name="Google Shape;328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9" name="Google Shape;329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0" name="Google Shape;330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1" name="Google Shape;331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2" name="Google Shape;332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3" name="Google Shape;333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4" name="Google Shape;334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5" name="Google Shape;335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6" name="Google Shape;336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7" name="Google Shape;337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8" name="Google Shape;338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9" name="Google Shape;339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0" name="Google Shape;340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1" name="Google Shape;341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2" name="Google Shape;342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3" name="Google Shape;343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4" name="Google Shape;344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5" name="Google Shape;345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6" name="Google Shape;346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7" name="Google Shape;347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8" name="Google Shape;348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9" name="Google Shape;349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0" name="Google Shape;350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1" name="Google Shape;351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2" name="Google Shape;352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3" name="Google Shape;353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4" name="Google Shape;354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5" name="Google Shape;355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6" name="Google Shape;356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7" name="Google Shape;357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8" name="Google Shape;358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9" name="Google Shape;359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0" name="Google Shape;360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1" name="Google Shape;361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2" name="Google Shape;362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3" name="Google Shape;363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4" name="Google Shape;364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5" name="Google Shape;365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6" name="Google Shape;366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7" name="Google Shape;367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8" name="Google Shape;368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9" name="Google Shape;369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0" name="Google Shape;370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1" name="Google Shape;371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2" name="Google Shape;372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3" name="Google Shape;373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4" name="Google Shape;374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5" name="Google Shape;375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6" name="Google Shape;376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7" name="Google Shape;377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8" name="Google Shape;378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9" name="Google Shape;379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0" name="Google Shape;380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1" name="Google Shape;381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2" name="Google Shape;382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3" name="Google Shape;383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4" name="Google Shape;384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5" name="Google Shape;385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6" name="Google Shape;386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7" name="Google Shape;387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8" name="Google Shape;388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9" name="Google Shape;389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0" name="Google Shape;390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1" name="Google Shape;391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2" name="Google Shape;392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3" name="Google Shape;393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4" name="Google Shape;394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5" name="Google Shape;395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6" name="Google Shape;396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7" name="Google Shape;397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8" name="Google Shape;398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9" name="Google Shape;399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0" name="Google Shape;400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1" name="Google Shape;401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2" name="Google Shape;402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3" name="Google Shape;403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4" name="Google Shape;404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5" name="Google Shape;405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6" name="Google Shape;406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7" name="Google Shape;407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8" name="Google Shape;408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9" name="Google Shape;409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0" name="Google Shape;410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1" name="Google Shape;411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2" name="Google Shape;412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3" name="Google Shape;413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4" name="Google Shape;414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5" name="Google Shape;415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6" name="Google Shape;416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7" name="Google Shape;417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8" name="Google Shape;418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9" name="Google Shape;419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0" name="Google Shape;420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1" name="Google Shape;421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2" name="Google Shape;422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3" name="Google Shape;423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4" name="Google Shape;424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5" name="Google Shape;425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6" name="Google Shape;426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7" name="Google Shape;427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8" name="Google Shape;428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9" name="Google Shape;429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0" name="Google Shape;430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1" name="Google Shape;431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2" name="Google Shape;432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3" name="Google Shape;433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4" name="Google Shape;434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5" name="Google Shape;435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6" name="Google Shape;436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7" name="Google Shape;437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8" name="Google Shape;438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9" name="Google Shape;439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0" name="Google Shape;440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1" name="Google Shape;441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2" name="Google Shape;442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3" name="Google Shape;443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444" name="Google Shape;444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445" name="Google Shape;445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6" name="Google Shape;446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7" name="Google Shape;447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8" name="Google Shape;448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9" name="Google Shape;449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0" name="Google Shape;450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1" name="Google Shape;451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2" name="Google Shape;452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3" name="Google Shape;453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4" name="Google Shape;454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5" name="Google Shape;455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6" name="Google Shape;456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7" name="Google Shape;457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8" name="Google Shape;458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9" name="Google Shape;459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0" name="Google Shape;460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1" name="Google Shape;461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2" name="Google Shape;462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3" name="Google Shape;463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4" name="Google Shape;464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5" name="Google Shape;465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6" name="Google Shape;466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7" name="Google Shape;467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8" name="Google Shape;468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9" name="Google Shape;469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0" name="Google Shape;470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1" name="Google Shape;471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2" name="Google Shape;472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3" name="Google Shape;473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4" name="Google Shape;474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5" name="Google Shape;475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6" name="Google Shape;476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7" name="Google Shape;477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8" name="Google Shape;478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9" name="Google Shape;479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0" name="Google Shape;480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1" name="Google Shape;481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2" name="Google Shape;482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3" name="Google Shape;483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4" name="Google Shape;484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5" name="Google Shape;485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6" name="Google Shape;486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7" name="Google Shape;487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8" name="Google Shape;488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9" name="Google Shape;489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0" name="Google Shape;490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1" name="Google Shape;491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2" name="Google Shape;492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3" name="Google Shape;493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4" name="Google Shape;494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5" name="Google Shape;495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6" name="Google Shape;496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7" name="Google Shape;497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8" name="Google Shape;498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9" name="Google Shape;499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0" name="Google Shape;500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1" name="Google Shape;501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2" name="Google Shape;502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3" name="Google Shape;503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4" name="Google Shape;504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5" name="Google Shape;505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6" name="Google Shape;506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7" name="Google Shape;507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8" name="Google Shape;508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9" name="Google Shape;509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0" name="Google Shape;510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1" name="Google Shape;511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2" name="Google Shape;512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513" name="Google Shape;513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4" name="Google Shape;514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5" name="Google Shape;515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6" name="Google Shape;516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7" name="Google Shape;517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8" name="Google Shape;518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9" name="Google Shape;519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0" name="Google Shape;520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1" name="Google Shape;521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2" name="Google Shape;522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3" name="Google Shape;523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4" name="Google Shape;524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5" name="Google Shape;525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6" name="Google Shape;526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7" name="Google Shape;527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8" name="Google Shape;528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9" name="Google Shape;529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0" name="Google Shape;530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1" name="Google Shape;531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2" name="Google Shape;532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3" name="Google Shape;533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4" name="Google Shape;534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5" name="Google Shape;535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6" name="Google Shape;536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7" name="Google Shape;537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8" name="Google Shape;538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9" name="Google Shape;539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0" name="Google Shape;540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1" name="Google Shape;541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2" name="Google Shape;542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3" name="Google Shape;543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4" name="Google Shape;544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5" name="Google Shape;545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6" name="Google Shape;546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7" name="Google Shape;547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8" name="Google Shape;548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9" name="Google Shape;549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pic>
        <p:nvPicPr>
          <p:cNvPr id="550" name="Google Shape;550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38295" y="168911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551" name="Google Shape;551;p21"/>
          <p:cNvSpPr txBox="1">
            <a:spLocks noGrp="1"/>
          </p:cNvSpPr>
          <p:nvPr>
            <p:ph type="ctrTitle"/>
          </p:nvPr>
        </p:nvSpPr>
        <p:spPr>
          <a:xfrm>
            <a:off x="1394012" y="3446249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2" name="Google Shape;552;p21"/>
          <p:cNvGrpSpPr/>
          <p:nvPr/>
        </p:nvGrpSpPr>
        <p:grpSpPr>
          <a:xfrm>
            <a:off x="7397166" y="1622082"/>
            <a:ext cx="5848979" cy="5709390"/>
            <a:chOff x="7397166" y="1622082"/>
            <a:chExt cx="5848979" cy="5709390"/>
          </a:xfrm>
        </p:grpSpPr>
        <p:sp>
          <p:nvSpPr>
            <p:cNvPr id="553" name="Google Shape;553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4" name="Google Shape;554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5" name="Google Shape;555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6" name="Google Shape;556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7" name="Google Shape;557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8" name="Google Shape;558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9" name="Google Shape;559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0" name="Google Shape;560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1" name="Google Shape;561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2" name="Google Shape;562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3" name="Google Shape;563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4" name="Google Shape;564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5" name="Google Shape;565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6" name="Google Shape;566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7" name="Google Shape;567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8" name="Google Shape;568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9" name="Google Shape;569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0" name="Google Shape;570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1" name="Google Shape;571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2" name="Google Shape;572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3" name="Google Shape;573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4" name="Google Shape;574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5" name="Google Shape;575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6" name="Google Shape;576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7" name="Google Shape;577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8" name="Google Shape;578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9" name="Google Shape;579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0" name="Google Shape;580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1" name="Google Shape;581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2" name="Google Shape;582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3" name="Google Shape;583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4" name="Google Shape;584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5" name="Google Shape;585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6" name="Google Shape;586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7" name="Google Shape;587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8" name="Google Shape;588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9" name="Google Shape;589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0" name="Google Shape;590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1" name="Google Shape;591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2" name="Google Shape;592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3" name="Google Shape;593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4" name="Google Shape;594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5" name="Google Shape;595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6" name="Google Shape;596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7" name="Google Shape;597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8" name="Google Shape;598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9" name="Google Shape;599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0" name="Google Shape;600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1" name="Google Shape;601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2" name="Google Shape;602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3" name="Google Shape;603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4" name="Google Shape;604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5" name="Google Shape;605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6" name="Google Shape;606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7" name="Google Shape;607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8" name="Google Shape;608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9" name="Google Shape;609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0" name="Google Shape;610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1" name="Google Shape;611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2" name="Google Shape;612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3" name="Google Shape;613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4" name="Google Shape;614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5" name="Google Shape;615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6" name="Google Shape;616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7" name="Google Shape;617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8" name="Google Shape;618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9" name="Google Shape;619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0" name="Google Shape;620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1" name="Google Shape;621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2" name="Google Shape;622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3" name="Google Shape;623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4" name="Google Shape;624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5" name="Google Shape;625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6" name="Google Shape;626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7" name="Google Shape;627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8" name="Google Shape;628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9" name="Google Shape;629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0" name="Google Shape;630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1" name="Google Shape;631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2" name="Google Shape;632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3" name="Google Shape;633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4" name="Google Shape;634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5" name="Google Shape;635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6" name="Google Shape;636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7" name="Google Shape;637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8" name="Google Shape;638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9" name="Google Shape;639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0" name="Google Shape;640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1" name="Google Shape;641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2" name="Google Shape;642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3" name="Google Shape;643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4" name="Google Shape;644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5" name="Google Shape;645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6" name="Google Shape;646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7" name="Google Shape;647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8" name="Google Shape;648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9" name="Google Shape;649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0" name="Google Shape;650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1" name="Google Shape;651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2" name="Google Shape;652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3" name="Google Shape;653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4" name="Google Shape;654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5" name="Google Shape;655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6" name="Google Shape;656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7" name="Google Shape;657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8" name="Google Shape;658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9" name="Google Shape;659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0" name="Google Shape;660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1" name="Google Shape;661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2" name="Google Shape;662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3" name="Google Shape;663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4" name="Google Shape;664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5" name="Google Shape;665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6" name="Google Shape;666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7" name="Google Shape;667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8" name="Google Shape;668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9" name="Google Shape;669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0" name="Google Shape;670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1" name="Google Shape;671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2" name="Google Shape;672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3" name="Google Shape;673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674" name="Google Shape;674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675" name="Google Shape;675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6" name="Google Shape;676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7" name="Google Shape;677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8" name="Google Shape;678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9" name="Google Shape;679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0" name="Google Shape;680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1" name="Google Shape;681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2" name="Google Shape;682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3" name="Google Shape;683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4" name="Google Shape;684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5" name="Google Shape;685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6" name="Google Shape;686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7" name="Google Shape;687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8" name="Google Shape;688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9" name="Google Shape;689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0" name="Google Shape;690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1" name="Google Shape;691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2" name="Google Shape;692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3" name="Google Shape;693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4" name="Google Shape;694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5" name="Google Shape;695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6" name="Google Shape;696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7" name="Google Shape;697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8" name="Google Shape;698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9" name="Google Shape;699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0" name="Google Shape;700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1" name="Google Shape;701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2" name="Google Shape;702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3" name="Google Shape;703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4" name="Google Shape;704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5" name="Google Shape;705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6" name="Google Shape;706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7" name="Google Shape;707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8" name="Google Shape;708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9" name="Google Shape;709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0" name="Google Shape;710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1" name="Google Shape;711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2" name="Google Shape;712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3" name="Google Shape;713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4" name="Google Shape;714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5" name="Google Shape;715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6" name="Google Shape;716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7" name="Google Shape;717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8" name="Google Shape;718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9" name="Google Shape;719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0" name="Google Shape;720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1" name="Google Shape;721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2" name="Google Shape;722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3" name="Google Shape;723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4" name="Google Shape;724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5" name="Google Shape;725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6" name="Google Shape;726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7" name="Google Shape;727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8" name="Google Shape;728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9" name="Google Shape;729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0" name="Google Shape;730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1" name="Google Shape;731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2" name="Google Shape;732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3" name="Google Shape;733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4" name="Google Shape;734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5" name="Google Shape;735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6" name="Google Shape;736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7" name="Google Shape;737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8" name="Google Shape;738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9" name="Google Shape;739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0" name="Google Shape;740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1" name="Google Shape;741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2" name="Google Shape;742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3" name="Google Shape;743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4" name="Google Shape;744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5" name="Google Shape;745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6" name="Google Shape;746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7" name="Google Shape;747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8" name="Google Shape;748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9" name="Google Shape;749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0" name="Google Shape;750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1" name="Google Shape;751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2" name="Google Shape;752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3" name="Google Shape;753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4" name="Google Shape;754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5" name="Google Shape;755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6" name="Google Shape;756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7" name="Google Shape;757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8" name="Google Shape;758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9" name="Google Shape;759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0" name="Google Shape;760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1" name="Google Shape;761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2" name="Google Shape;762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3" name="Google Shape;763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4" name="Google Shape;764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5" name="Google Shape;765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6" name="Google Shape;766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7" name="Google Shape;767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8" name="Google Shape;768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9" name="Google Shape;769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0" name="Google Shape;770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1" name="Google Shape;771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2" name="Google Shape;772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3" name="Google Shape;773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4" name="Google Shape;774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5" name="Google Shape;775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6" name="Google Shape;776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7" name="Google Shape;777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8" name="Google Shape;778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9" name="Google Shape;779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0" name="Google Shape;780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1" name="Google Shape;781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2" name="Google Shape;782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3" name="Google Shape;783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4" name="Google Shape;784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5" name="Google Shape;785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6" name="Google Shape;786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7" name="Google Shape;787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8" name="Google Shape;788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9" name="Google Shape;789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0" name="Google Shape;790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1" name="Google Shape;791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2" name="Google Shape;792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3" name="Google Shape;793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4" name="Google Shape;794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5" name="Google Shape;795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6" name="Google Shape;796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7" name="Google Shape;797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8" name="Google Shape;798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9" name="Google Shape;799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0" name="Google Shape;800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1" name="Google Shape;801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2" name="Google Shape;802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3" name="Google Shape;803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4" name="Google Shape;804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5" name="Google Shape;805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6" name="Google Shape;806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7" name="Google Shape;807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8" name="Google Shape;808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9" name="Google Shape;809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0" name="Google Shape;810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1" name="Google Shape;811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2" name="Google Shape;812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3" name="Google Shape;813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4" name="Google Shape;814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5" name="Google Shape;815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6" name="Google Shape;816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7" name="Google Shape;817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8" name="Google Shape;818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9" name="Google Shape;819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0" name="Google Shape;820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1" name="Google Shape;821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2" name="Google Shape;822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3" name="Google Shape;823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4" name="Google Shape;824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5" name="Google Shape;825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6" name="Google Shape;826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7" name="Google Shape;827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8" name="Google Shape;828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9" name="Google Shape;829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0" name="Google Shape;830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1" name="Google Shape;831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2" name="Google Shape;832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3" name="Google Shape;833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4" name="Google Shape;834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5" name="Google Shape;835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6" name="Google Shape;836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7" name="Google Shape;837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8" name="Google Shape;838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9" name="Google Shape;839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0" name="Google Shape;840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1" name="Google Shape;841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2" name="Google Shape;842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3" name="Google Shape;843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4" name="Google Shape;844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5" name="Google Shape;845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6" name="Google Shape;846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7" name="Google Shape;847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8" name="Google Shape;848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9" name="Google Shape;849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0" name="Google Shape;850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1" name="Google Shape;851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2" name="Google Shape;852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3" name="Google Shape;853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4" name="Google Shape;854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5" name="Google Shape;855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6" name="Google Shape;856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7" name="Google Shape;857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8" name="Google Shape;858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9" name="Google Shape;859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0" name="Google Shape;860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1" name="Google Shape;861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2" name="Google Shape;862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3" name="Google Shape;863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4" name="Google Shape;864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5" name="Google Shape;865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6" name="Google Shape;866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7" name="Google Shape;867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8" name="Google Shape;868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9" name="Google Shape;869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0" name="Google Shape;870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1" name="Google Shape;871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2" name="Google Shape;872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3" name="Google Shape;873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4" name="Google Shape;874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5" name="Google Shape;875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6" name="Google Shape;876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7" name="Google Shape;877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8" name="Google Shape;878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9" name="Google Shape;879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0" name="Google Shape;880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1" name="Google Shape;881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2" name="Google Shape;882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3" name="Google Shape;883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4" name="Google Shape;884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5" name="Google Shape;885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6" name="Google Shape;886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7" name="Google Shape;887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8" name="Google Shape;888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9" name="Google Shape;889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0" name="Google Shape;890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1" name="Google Shape;891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2" name="Google Shape;892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3" name="Google Shape;893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4" name="Google Shape;894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5" name="Google Shape;895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6" name="Google Shape;896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7" name="Google Shape;897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8" name="Google Shape;898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9" name="Google Shape;899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0" name="Google Shape;900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1" name="Google Shape;901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2" name="Google Shape;902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3" name="Google Shape;903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4" name="Google Shape;904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5" name="Google Shape;905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6" name="Google Shape;906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7" name="Google Shape;907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8" name="Google Shape;908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9" name="Google Shape;909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0" name="Google Shape;910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1" name="Google Shape;911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2" name="Google Shape;912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3" name="Google Shape;913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4" name="Google Shape;914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5" name="Google Shape;915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6" name="Google Shape;916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7" name="Google Shape;917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8" name="Google Shape;918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9" name="Google Shape;919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0" name="Google Shape;920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1" name="Google Shape;921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2" name="Google Shape;922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3" name="Google Shape;923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4" name="Google Shape;924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5" name="Google Shape;925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6" name="Google Shape;926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7" name="Google Shape;927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8" name="Google Shape;928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9" name="Google Shape;929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0" name="Google Shape;930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1" name="Google Shape;931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2" name="Google Shape;932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3" name="Google Shape;933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4" name="Google Shape;934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5" name="Google Shape;935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6" name="Google Shape;936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7" name="Google Shape;937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8" name="Google Shape;938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9" name="Google Shape;939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0" name="Google Shape;940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1" name="Google Shape;941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2" name="Google Shape;942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3" name="Google Shape;943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4" name="Google Shape;944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5" name="Google Shape;945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6" name="Google Shape;946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" name="Google Shape;947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" name="Google Shape;948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" name="Google Shape;949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0" name="Google Shape;950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1" name="Google Shape;951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2" name="Google Shape;952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3" name="Google Shape;953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4" name="Google Shape;954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5" name="Google Shape;955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6" name="Google Shape;956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7" name="Google Shape;957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8" name="Google Shape;958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9" name="Google Shape;959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0" name="Google Shape;960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1" name="Google Shape;961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2" name="Google Shape;962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3" name="Google Shape;963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4" name="Google Shape;964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965" name="Google Shape;965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966" name="Google Shape;966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7" name="Google Shape;967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8" name="Google Shape;968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9" name="Google Shape;969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0" name="Google Shape;970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1" name="Google Shape;971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2" name="Google Shape;972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3" name="Google Shape;973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4" name="Google Shape;974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5" name="Google Shape;975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6" name="Google Shape;976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7" name="Google Shape;977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8" name="Google Shape;978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9" name="Google Shape;979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0" name="Google Shape;980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1" name="Google Shape;981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2" name="Google Shape;982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3" name="Google Shape;983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4" name="Google Shape;984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5" name="Google Shape;985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6" name="Google Shape;986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7" name="Google Shape;987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8" name="Google Shape;988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9" name="Google Shape;989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0" name="Google Shape;990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1" name="Google Shape;991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2" name="Google Shape;992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3" name="Google Shape;993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4" name="Google Shape;994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5" name="Google Shape;995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6" name="Google Shape;996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7" name="Google Shape;997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8" name="Google Shape;998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9" name="Google Shape;999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0" name="Google Shape;1000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1" name="Google Shape;1001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2" name="Google Shape;1002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3" name="Google Shape;1003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4" name="Google Shape;1004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5" name="Google Shape;1005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6" name="Google Shape;1006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7" name="Google Shape;1007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8" name="Google Shape;1008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9" name="Google Shape;1009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0" name="Google Shape;1010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1" name="Google Shape;1011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2" name="Google Shape;1012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3" name="Google Shape;1013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4" name="Google Shape;1014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5" name="Google Shape;1015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6" name="Google Shape;1016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7" name="Google Shape;1017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8" name="Google Shape;1018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9" name="Google Shape;1019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0" name="Google Shape;1020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1" name="Google Shape;1021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2" name="Google Shape;1022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3" name="Google Shape;1023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4" name="Google Shape;1024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5" name="Google Shape;1025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6" name="Google Shape;1026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7" name="Google Shape;1027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8" name="Google Shape;1028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9" name="Google Shape;1029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0" name="Google Shape;1030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1" name="Google Shape;1031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2" name="Google Shape;1032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3" name="Google Shape;1033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1034" name="Google Shape;1034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5" name="Google Shape;1035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6" name="Google Shape;1036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7" name="Google Shape;1037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8" name="Google Shape;1038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9" name="Google Shape;1039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0" name="Google Shape;1040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1" name="Google Shape;1041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2" name="Google Shape;1042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3" name="Google Shape;1043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4" name="Google Shape;1044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5" name="Google Shape;1045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6" name="Google Shape;1046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7" name="Google Shape;1047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8" name="Google Shape;1048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9" name="Google Shape;1049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0" name="Google Shape;1050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1" name="Google Shape;1051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2" name="Google Shape;1052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3" name="Google Shape;1053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4" name="Google Shape;1054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5" name="Google Shape;1055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6" name="Google Shape;1056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7" name="Google Shape;1057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8" name="Google Shape;1058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9" name="Google Shape;1059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0" name="Google Shape;1060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1" name="Google Shape;1061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2" name="Google Shape;1062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3" name="Google Shape;1063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4" name="Google Shape;1064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5" name="Google Shape;1065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6" name="Google Shape;1066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7" name="Google Shape;1067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8" name="Google Shape;1068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9" name="Google Shape;1069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70" name="Google Shape;1070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sp>
        <p:nvSpPr>
          <p:cNvPr id="1071" name="Google Shape;1071;p21"/>
          <p:cNvSpPr/>
          <p:nvPr/>
        </p:nvSpPr>
        <p:spPr>
          <a:xfrm>
            <a:off x="3417952" y="3016541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2" name="Google Shape;1072;p21"/>
          <p:cNvSpPr/>
          <p:nvPr/>
        </p:nvSpPr>
        <p:spPr>
          <a:xfrm>
            <a:off x="3417952" y="4362143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4" name="Google Shape;1074;p2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D45C9D-18FD-BB58-F9A5-2FA748DBF39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313587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>
            <a:alphaModFix/>
          </a:blip>
          <a:srcRect l="22060" r="17687" b="21526"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279215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989A65A-F7F9-3DEC-A6A9-FAD58F2CB77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10C65A38-FDB4-7368-73B5-DC0F48BCEFE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bg>
      <p:bgPr>
        <a:solidFill>
          <a:schemeClr val="lt1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p5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01" name="Google Shape;170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02" name="Google Shape;1702;p5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03" name="Google Shape;1703;p58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58"/>
          <p:cNvSpPr>
            <a:spLocks noGrp="1"/>
          </p:cNvSpPr>
          <p:nvPr>
            <p:ph type="chart" idx="2"/>
          </p:nvPr>
        </p:nvSpPr>
        <p:spPr>
          <a:xfrm>
            <a:off x="6200813" y="1152245"/>
            <a:ext cx="5384636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05" name="Google Shape;1705;p58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06" name="Google Shape;1706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5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" name="Google Shape;1709;p58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0" name="Google Shape;1710;p5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4AFC1EC4-7C30-CE2B-75E0-0B442014963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83" r:id="rId2"/>
    <p:sldLayoutId id="2147483685" r:id="rId3"/>
    <p:sldLayoutId id="2147483682" r:id="rId4"/>
    <p:sldLayoutId id="2147483684" r:id="rId5"/>
    <p:sldLayoutId id="2147483654" r:id="rId6"/>
    <p:sldLayoutId id="2147483655" r:id="rId7"/>
    <p:sldLayoutId id="2147483659" r:id="rId8"/>
    <p:sldLayoutId id="2147483660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9" r:id="rId15"/>
    <p:sldLayoutId id="2147483670" r:id="rId16"/>
    <p:sldLayoutId id="2147483671" r:id="rId17"/>
    <p:sldLayoutId id="2147483672" r:id="rId18"/>
    <p:sldLayoutId id="2147483679" r:id="rId19"/>
    <p:sldLayoutId id="2147483680" r:id="rId20"/>
    <p:sldLayoutId id="2147483681" r:id="rId21"/>
    <p:sldLayoutId id="2147483686" r:id="rId22"/>
    <p:sldLayoutId id="2147483688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17693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38.emf"/><Relationship Id="rId9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8.png"/><Relationship Id="rId4" Type="http://schemas.openxmlformats.org/officeDocument/2006/relationships/image" Target="../media/image38.emf"/><Relationship Id="rId9" Type="http://schemas.openxmlformats.org/officeDocument/2006/relationships/hyperlink" Target="https://www.kaggle.com/code/sridharstreaks/airfare-price-prediction/input?select=Scraped_dataset.csv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s-stratgic-work/Price-Elasticity-Demand.git" TargetMode="External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>
            <a:extLst>
              <a:ext uri="{FF2B5EF4-FFF2-40B4-BE49-F238E27FC236}">
                <a16:creationId xmlns:a16="http://schemas.microsoft.com/office/drawing/2014/main" id="{0AD6F623-77DD-3641-F869-17561210CB44}"/>
              </a:ext>
            </a:extLst>
          </p:cNvPr>
          <p:cNvSpPr txBox="1"/>
          <p:nvPr/>
        </p:nvSpPr>
        <p:spPr>
          <a:xfrm>
            <a:off x="704615" y="4053778"/>
            <a:ext cx="5732788" cy="101566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600" b="1" dirty="0">
                <a:solidFill>
                  <a:srgbClr val="DE5482"/>
                </a:solidFill>
                <a:latin typeface="Trebuchet MS"/>
              </a:rPr>
              <a:t>Price Elasticity Demand    </a:t>
            </a:r>
            <a:endParaRPr lang="en-US" sz="2400" b="1" dirty="0">
              <a:solidFill>
                <a:srgbClr val="DE5482"/>
              </a:solidFill>
              <a:latin typeface="Trebuchet MS"/>
            </a:endParaRPr>
          </a:p>
          <a:p>
            <a:pPr marL="457200" indent="-457200" algn="ctr">
              <a:buChar char="•"/>
            </a:pPr>
            <a:endParaRPr lang="en-US" sz="2400" dirty="0">
              <a:solidFill>
                <a:srgbClr val="DE5482"/>
              </a:solidFill>
            </a:endParaRP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2C1C8B5C-EA7F-D3F6-8008-FA9190C1899F}"/>
              </a:ext>
            </a:extLst>
          </p:cNvPr>
          <p:cNvSpPr txBox="1"/>
          <p:nvPr/>
        </p:nvSpPr>
        <p:spPr>
          <a:xfrm rot="10800000" flipV="1">
            <a:off x="1132038" y="4609931"/>
            <a:ext cx="4468906" cy="46166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>
                <a:solidFill>
                  <a:srgbClr val="DE5482"/>
                </a:solidFill>
                <a:latin typeface="Trebuchet MS"/>
              </a:rPr>
              <a:t>A Machine Learning Appro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762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7" name="Google Shape;9497;p5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4157405" cy="430887"/>
          </a:xfrm>
        </p:spPr>
        <p:txBody>
          <a:bodyPr/>
          <a:lstStyle/>
          <a:p>
            <a:pPr lvl="0"/>
            <a:r>
              <a:rPr lang="en-IN" sz="2800" dirty="0"/>
              <a:t>Table Of Contents</a:t>
            </a:r>
          </a:p>
        </p:txBody>
      </p:sp>
      <p:grpSp>
        <p:nvGrpSpPr>
          <p:cNvPr id="9537" name="Group 9536">
            <a:extLst>
              <a:ext uri="{FF2B5EF4-FFF2-40B4-BE49-F238E27FC236}">
                <a16:creationId xmlns:a16="http://schemas.microsoft.com/office/drawing/2014/main" id="{617646E6-E2AC-113E-0CF6-8CBEDA305D0D}"/>
              </a:ext>
            </a:extLst>
          </p:cNvPr>
          <p:cNvGrpSpPr/>
          <p:nvPr/>
        </p:nvGrpSpPr>
        <p:grpSpPr>
          <a:xfrm>
            <a:off x="476251" y="1466040"/>
            <a:ext cx="863600" cy="863600"/>
            <a:chOff x="476251" y="1248344"/>
            <a:chExt cx="863600" cy="863600"/>
          </a:xfrm>
        </p:grpSpPr>
        <p:sp>
          <p:nvSpPr>
            <p:cNvPr id="9518" name="Oval 9517">
              <a:extLst>
                <a:ext uri="{FF2B5EF4-FFF2-40B4-BE49-F238E27FC236}">
                  <a16:creationId xmlns:a16="http://schemas.microsoft.com/office/drawing/2014/main" id="{91D6BCA3-CDC7-75A7-C59B-B61AF81857A1}"/>
                </a:ext>
              </a:extLst>
            </p:cNvPr>
            <p:cNvSpPr/>
            <p:nvPr/>
          </p:nvSpPr>
          <p:spPr>
            <a:xfrm>
              <a:off x="476251" y="1248344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74" name="Google Shape;9522;p5">
              <a:extLst>
                <a:ext uri="{FF2B5EF4-FFF2-40B4-BE49-F238E27FC236}">
                  <a16:creationId xmlns:a16="http://schemas.microsoft.com/office/drawing/2014/main" id="{9C843208-53EF-79DA-4983-E05AE643742B}"/>
                </a:ext>
              </a:extLst>
            </p:cNvPr>
            <p:cNvGrpSpPr/>
            <p:nvPr/>
          </p:nvGrpSpPr>
          <p:grpSpPr>
            <a:xfrm>
              <a:off x="686222" y="1431334"/>
              <a:ext cx="443659" cy="497620"/>
              <a:chOff x="33861373" y="9493843"/>
              <a:chExt cx="2567635" cy="2879928"/>
            </a:xfrm>
          </p:grpSpPr>
          <p:sp>
            <p:nvSpPr>
              <p:cNvPr id="9475" name="Google Shape;9523;p5">
                <a:extLst>
                  <a:ext uri="{FF2B5EF4-FFF2-40B4-BE49-F238E27FC236}">
                    <a16:creationId xmlns:a16="http://schemas.microsoft.com/office/drawing/2014/main" id="{32AC4274-D7E7-71C7-C3BF-D7D4B39C1D05}"/>
                  </a:ext>
                </a:extLst>
              </p:cNvPr>
              <p:cNvSpPr/>
              <p:nvPr/>
            </p:nvSpPr>
            <p:spPr>
              <a:xfrm>
                <a:off x="34793255" y="10136372"/>
                <a:ext cx="328948" cy="648444"/>
              </a:xfrm>
              <a:custGeom>
                <a:avLst/>
                <a:gdLst/>
                <a:ahLst/>
                <a:cxnLst/>
                <a:rect l="l" t="t" r="r" b="b"/>
                <a:pathLst>
                  <a:path w="328948" h="648444" extrusionOk="0">
                    <a:moveTo>
                      <a:pt x="164703" y="136815"/>
                    </a:moveTo>
                    <a:cubicBezTo>
                      <a:pt x="212849" y="136815"/>
                      <a:pt x="252005" y="170563"/>
                      <a:pt x="252005" y="211956"/>
                    </a:cubicBezTo>
                    <a:cubicBezTo>
                      <a:pt x="252005" y="233108"/>
                      <a:pt x="269096" y="250199"/>
                      <a:pt x="290248" y="250199"/>
                    </a:cubicBezTo>
                    <a:cubicBezTo>
                      <a:pt x="311400" y="250199"/>
                      <a:pt x="328492" y="233107"/>
                      <a:pt x="328492" y="211956"/>
                    </a:cubicBezTo>
                    <a:cubicBezTo>
                      <a:pt x="328492" y="140400"/>
                      <a:pt x="274480" y="80549"/>
                      <a:pt x="202489" y="64803"/>
                    </a:cubicBezTo>
                    <a:lnTo>
                      <a:pt x="202489" y="38244"/>
                    </a:lnTo>
                    <a:cubicBezTo>
                      <a:pt x="202489" y="17091"/>
                      <a:pt x="185398" y="0"/>
                      <a:pt x="164246" y="0"/>
                    </a:cubicBezTo>
                    <a:cubicBezTo>
                      <a:pt x="143094" y="0"/>
                      <a:pt x="126002" y="17092"/>
                      <a:pt x="126002" y="38244"/>
                    </a:cubicBezTo>
                    <a:lnTo>
                      <a:pt x="126002" y="64803"/>
                    </a:lnTo>
                    <a:cubicBezTo>
                      <a:pt x="54012" y="81004"/>
                      <a:pt x="0" y="140400"/>
                      <a:pt x="0" y="211956"/>
                    </a:cubicBezTo>
                    <a:cubicBezTo>
                      <a:pt x="0" y="295651"/>
                      <a:pt x="73794" y="364062"/>
                      <a:pt x="164246" y="364062"/>
                    </a:cubicBezTo>
                    <a:cubicBezTo>
                      <a:pt x="212393" y="364062"/>
                      <a:pt x="251549" y="397810"/>
                      <a:pt x="251549" y="439203"/>
                    </a:cubicBezTo>
                    <a:cubicBezTo>
                      <a:pt x="251549" y="480596"/>
                      <a:pt x="212393" y="514344"/>
                      <a:pt x="164246" y="514344"/>
                    </a:cubicBezTo>
                    <a:cubicBezTo>
                      <a:pt x="116100" y="514344"/>
                      <a:pt x="76944" y="480596"/>
                      <a:pt x="76944" y="439203"/>
                    </a:cubicBezTo>
                    <a:cubicBezTo>
                      <a:pt x="76944" y="418051"/>
                      <a:pt x="59852" y="400960"/>
                      <a:pt x="38701" y="400960"/>
                    </a:cubicBezTo>
                    <a:cubicBezTo>
                      <a:pt x="17548" y="400960"/>
                      <a:pt x="457" y="418051"/>
                      <a:pt x="457" y="439203"/>
                    </a:cubicBezTo>
                    <a:cubicBezTo>
                      <a:pt x="457" y="510759"/>
                      <a:pt x="54469" y="570610"/>
                      <a:pt x="126459" y="586356"/>
                    </a:cubicBezTo>
                    <a:lnTo>
                      <a:pt x="126459" y="610201"/>
                    </a:lnTo>
                    <a:cubicBezTo>
                      <a:pt x="126459" y="631354"/>
                      <a:pt x="143551" y="648445"/>
                      <a:pt x="164703" y="648445"/>
                    </a:cubicBezTo>
                    <a:cubicBezTo>
                      <a:pt x="185855" y="648445"/>
                      <a:pt x="202947" y="631353"/>
                      <a:pt x="202947" y="610201"/>
                    </a:cubicBezTo>
                    <a:lnTo>
                      <a:pt x="202947" y="586356"/>
                    </a:lnTo>
                    <a:cubicBezTo>
                      <a:pt x="274937" y="570155"/>
                      <a:pt x="328949" y="510759"/>
                      <a:pt x="328949" y="439203"/>
                    </a:cubicBezTo>
                    <a:cubicBezTo>
                      <a:pt x="328949" y="355507"/>
                      <a:pt x="255155" y="287097"/>
                      <a:pt x="164703" y="287097"/>
                    </a:cubicBezTo>
                    <a:cubicBezTo>
                      <a:pt x="116556" y="287097"/>
                      <a:pt x="77400" y="253348"/>
                      <a:pt x="77400" y="211956"/>
                    </a:cubicBezTo>
                    <a:cubicBezTo>
                      <a:pt x="77400" y="170563"/>
                      <a:pt x="116556" y="136815"/>
                      <a:pt x="164703" y="13681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6" name="Google Shape;9524;p5">
                <a:extLst>
                  <a:ext uri="{FF2B5EF4-FFF2-40B4-BE49-F238E27FC236}">
                    <a16:creationId xmlns:a16="http://schemas.microsoft.com/office/drawing/2014/main" id="{09459DAD-6BCF-1FBE-575F-5D5AC67644E6}"/>
                  </a:ext>
                </a:extLst>
              </p:cNvPr>
              <p:cNvSpPr/>
              <p:nvPr/>
            </p:nvSpPr>
            <p:spPr>
              <a:xfrm>
                <a:off x="35418528" y="11353176"/>
                <a:ext cx="784419" cy="665560"/>
              </a:xfrm>
              <a:custGeom>
                <a:avLst/>
                <a:gdLst/>
                <a:ahLst/>
                <a:cxnLst/>
                <a:rect l="l" t="t" r="r" b="b"/>
                <a:pathLst>
                  <a:path w="784419" h="665560" extrusionOk="0">
                    <a:moveTo>
                      <a:pt x="771078" y="530546"/>
                    </a:moveTo>
                    <a:lnTo>
                      <a:pt x="467327" y="41848"/>
                    </a:lnTo>
                    <a:cubicBezTo>
                      <a:pt x="451126" y="15745"/>
                      <a:pt x="422785" y="0"/>
                      <a:pt x="392186" y="0"/>
                    </a:cubicBezTo>
                    <a:cubicBezTo>
                      <a:pt x="361587" y="0"/>
                      <a:pt x="333247" y="15745"/>
                      <a:pt x="317045" y="41848"/>
                    </a:cubicBezTo>
                    <a:lnTo>
                      <a:pt x="13293" y="530546"/>
                    </a:lnTo>
                    <a:cubicBezTo>
                      <a:pt x="-3799" y="557996"/>
                      <a:pt x="-4254" y="592200"/>
                      <a:pt x="11035" y="620107"/>
                    </a:cubicBezTo>
                    <a:cubicBezTo>
                      <a:pt x="26345" y="648013"/>
                      <a:pt x="56033" y="665561"/>
                      <a:pt x="88435" y="665561"/>
                    </a:cubicBezTo>
                    <a:lnTo>
                      <a:pt x="695960" y="665561"/>
                    </a:lnTo>
                    <a:cubicBezTo>
                      <a:pt x="727905" y="665561"/>
                      <a:pt x="757614" y="648013"/>
                      <a:pt x="773360" y="620107"/>
                    </a:cubicBezTo>
                    <a:cubicBezTo>
                      <a:pt x="789106" y="592202"/>
                      <a:pt x="787758" y="557562"/>
                      <a:pt x="771102" y="530546"/>
                    </a:cubicBezTo>
                    <a:close/>
                    <a:moveTo>
                      <a:pt x="706274" y="582753"/>
                    </a:moveTo>
                    <a:cubicBezTo>
                      <a:pt x="704927" y="585011"/>
                      <a:pt x="702234" y="588596"/>
                      <a:pt x="695915" y="588596"/>
                    </a:cubicBezTo>
                    <a:lnTo>
                      <a:pt x="88391" y="588596"/>
                    </a:lnTo>
                    <a:cubicBezTo>
                      <a:pt x="82549" y="588596"/>
                      <a:pt x="79400" y="584991"/>
                      <a:pt x="78033" y="582753"/>
                    </a:cubicBezTo>
                    <a:cubicBezTo>
                      <a:pt x="76686" y="580495"/>
                      <a:pt x="75340" y="576000"/>
                      <a:pt x="78489" y="570613"/>
                    </a:cubicBezTo>
                    <a:lnTo>
                      <a:pt x="382240" y="81915"/>
                    </a:lnTo>
                    <a:cubicBezTo>
                      <a:pt x="385389" y="76964"/>
                      <a:pt x="389885" y="76508"/>
                      <a:pt x="392143" y="76508"/>
                    </a:cubicBezTo>
                    <a:cubicBezTo>
                      <a:pt x="394401" y="76508"/>
                      <a:pt x="399353" y="77399"/>
                      <a:pt x="402046" y="81915"/>
                    </a:cubicBezTo>
                    <a:lnTo>
                      <a:pt x="705797" y="570613"/>
                    </a:lnTo>
                    <a:cubicBezTo>
                      <a:pt x="708946" y="575999"/>
                      <a:pt x="707600" y="580516"/>
                      <a:pt x="706253" y="58275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7" name="Google Shape;9525;p5">
                <a:extLst>
                  <a:ext uri="{FF2B5EF4-FFF2-40B4-BE49-F238E27FC236}">
                    <a16:creationId xmlns:a16="http://schemas.microsoft.com/office/drawing/2014/main" id="{DABBA84D-A681-1C78-0A84-66FB4B82EF81}"/>
                  </a:ext>
                </a:extLst>
              </p:cNvPr>
              <p:cNvSpPr/>
              <p:nvPr/>
            </p:nvSpPr>
            <p:spPr>
              <a:xfrm>
                <a:off x="33861373" y="9493843"/>
                <a:ext cx="2193292" cy="2846262"/>
              </a:xfrm>
              <a:custGeom>
                <a:avLst/>
                <a:gdLst/>
                <a:ahLst/>
                <a:cxnLst/>
                <a:rect l="l" t="t" r="r" b="b"/>
                <a:pathLst>
                  <a:path w="2193292" h="2846262" extrusionOk="0">
                    <a:moveTo>
                      <a:pt x="1492178" y="2769721"/>
                    </a:moveTo>
                    <a:lnTo>
                      <a:pt x="290654" y="2769721"/>
                    </a:lnTo>
                    <a:cubicBezTo>
                      <a:pt x="172755" y="2769721"/>
                      <a:pt x="76893" y="2673865"/>
                      <a:pt x="76893" y="2555961"/>
                    </a:cubicBezTo>
                    <a:lnTo>
                      <a:pt x="76914" y="290699"/>
                    </a:lnTo>
                    <a:cubicBezTo>
                      <a:pt x="76914" y="172801"/>
                      <a:pt x="172771" y="76939"/>
                      <a:pt x="290674" y="76939"/>
                    </a:cubicBezTo>
                    <a:lnTo>
                      <a:pt x="1902589" y="76939"/>
                    </a:lnTo>
                    <a:cubicBezTo>
                      <a:pt x="2020943" y="76939"/>
                      <a:pt x="2116784" y="172796"/>
                      <a:pt x="2116784" y="290699"/>
                    </a:cubicBezTo>
                    <a:lnTo>
                      <a:pt x="2116784" y="1544835"/>
                    </a:lnTo>
                    <a:cubicBezTo>
                      <a:pt x="2116784" y="1565987"/>
                      <a:pt x="2133876" y="1583078"/>
                      <a:pt x="2155028" y="1583078"/>
                    </a:cubicBezTo>
                    <a:cubicBezTo>
                      <a:pt x="2176180" y="1583078"/>
                      <a:pt x="2193271" y="1565987"/>
                      <a:pt x="2193271" y="1544835"/>
                    </a:cubicBezTo>
                    <a:lnTo>
                      <a:pt x="2193292" y="290699"/>
                    </a:lnTo>
                    <a:cubicBezTo>
                      <a:pt x="2193292" y="130494"/>
                      <a:pt x="2062798" y="0"/>
                      <a:pt x="1902137" y="0"/>
                    </a:cubicBezTo>
                    <a:lnTo>
                      <a:pt x="290699" y="0"/>
                    </a:lnTo>
                    <a:cubicBezTo>
                      <a:pt x="130516" y="0"/>
                      <a:pt x="0" y="130494"/>
                      <a:pt x="0" y="290699"/>
                    </a:cubicBezTo>
                    <a:lnTo>
                      <a:pt x="0" y="2556014"/>
                    </a:lnTo>
                    <a:cubicBezTo>
                      <a:pt x="0" y="2716219"/>
                      <a:pt x="130494" y="2846262"/>
                      <a:pt x="290249" y="2846262"/>
                    </a:cubicBezTo>
                    <a:lnTo>
                      <a:pt x="1491773" y="2846262"/>
                    </a:lnTo>
                    <a:cubicBezTo>
                      <a:pt x="1512925" y="2846262"/>
                      <a:pt x="1530016" y="2829171"/>
                      <a:pt x="1530016" y="2808019"/>
                    </a:cubicBezTo>
                    <a:cubicBezTo>
                      <a:pt x="1530472" y="2786867"/>
                      <a:pt x="1513381" y="2769755"/>
                      <a:pt x="1492228" y="276975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9" name="Google Shape;9526;p5">
                <a:extLst>
                  <a:ext uri="{FF2B5EF4-FFF2-40B4-BE49-F238E27FC236}">
                    <a16:creationId xmlns:a16="http://schemas.microsoft.com/office/drawing/2014/main" id="{BFF55220-9944-48AD-EC46-5C5C88DE0073}"/>
                  </a:ext>
                </a:extLst>
              </p:cNvPr>
              <p:cNvSpPr/>
              <p:nvPr/>
            </p:nvSpPr>
            <p:spPr>
              <a:xfrm>
                <a:off x="34242474" y="9745375"/>
                <a:ext cx="1431009" cy="1430977"/>
              </a:xfrm>
              <a:custGeom>
                <a:avLst/>
                <a:gdLst/>
                <a:ahLst/>
                <a:cxnLst/>
                <a:rect l="l" t="t" r="r" b="b"/>
                <a:pathLst>
                  <a:path w="1431009" h="1430977" extrusionOk="0">
                    <a:moveTo>
                      <a:pt x="1430988" y="715929"/>
                    </a:moveTo>
                    <a:cubicBezTo>
                      <a:pt x="1430988" y="320834"/>
                      <a:pt x="1110143" y="0"/>
                      <a:pt x="715961" y="0"/>
                    </a:cubicBezTo>
                    <a:lnTo>
                      <a:pt x="715505" y="0"/>
                    </a:lnTo>
                    <a:cubicBezTo>
                      <a:pt x="320845" y="456"/>
                      <a:pt x="0" y="321757"/>
                      <a:pt x="0" y="715929"/>
                    </a:cubicBezTo>
                    <a:cubicBezTo>
                      <a:pt x="0" y="906736"/>
                      <a:pt x="74250" y="1086288"/>
                      <a:pt x="209698" y="1221280"/>
                    </a:cubicBezTo>
                    <a:cubicBezTo>
                      <a:pt x="345146" y="1356272"/>
                      <a:pt x="524704" y="1430978"/>
                      <a:pt x="715940" y="1430978"/>
                    </a:cubicBezTo>
                    <a:cubicBezTo>
                      <a:pt x="906746" y="1430978"/>
                      <a:pt x="1086299" y="1356728"/>
                      <a:pt x="1221291" y="1221280"/>
                    </a:cubicBezTo>
                    <a:cubicBezTo>
                      <a:pt x="1356304" y="1085832"/>
                      <a:pt x="1431010" y="906730"/>
                      <a:pt x="1431010" y="715929"/>
                    </a:cubicBezTo>
                    <a:close/>
                    <a:moveTo>
                      <a:pt x="715961" y="1130828"/>
                    </a:moveTo>
                    <a:cubicBezTo>
                      <a:pt x="604814" y="1130828"/>
                      <a:pt x="500418" y="1087633"/>
                      <a:pt x="422111" y="1008888"/>
                    </a:cubicBezTo>
                    <a:cubicBezTo>
                      <a:pt x="343820" y="930597"/>
                      <a:pt x="300171" y="826641"/>
                      <a:pt x="300171" y="715929"/>
                    </a:cubicBezTo>
                    <a:cubicBezTo>
                      <a:pt x="300171" y="486878"/>
                      <a:pt x="486480" y="300575"/>
                      <a:pt x="715526" y="300140"/>
                    </a:cubicBezTo>
                    <a:lnTo>
                      <a:pt x="715982" y="300140"/>
                    </a:lnTo>
                    <a:cubicBezTo>
                      <a:pt x="944576" y="300140"/>
                      <a:pt x="1130880" y="486449"/>
                      <a:pt x="1130880" y="715929"/>
                    </a:cubicBezTo>
                    <a:cubicBezTo>
                      <a:pt x="1130880" y="826620"/>
                      <a:pt x="1087685" y="930581"/>
                      <a:pt x="1009375" y="1008888"/>
                    </a:cubicBezTo>
                    <a:cubicBezTo>
                      <a:pt x="930606" y="1087614"/>
                      <a:pt x="826651" y="1130828"/>
                      <a:pt x="715960" y="1130828"/>
                    </a:cubicBezTo>
                    <a:close/>
                    <a:moveTo>
                      <a:pt x="1354511" y="715929"/>
                    </a:moveTo>
                    <a:cubicBezTo>
                      <a:pt x="1354511" y="873419"/>
                      <a:pt x="1297810" y="1022375"/>
                      <a:pt x="1193871" y="1139388"/>
                    </a:cubicBezTo>
                    <a:lnTo>
                      <a:pt x="1089475" y="1034992"/>
                    </a:lnTo>
                    <a:cubicBezTo>
                      <a:pt x="1165985" y="945887"/>
                      <a:pt x="1207374" y="833849"/>
                      <a:pt x="1207374" y="715950"/>
                    </a:cubicBezTo>
                    <a:cubicBezTo>
                      <a:pt x="1207374" y="457194"/>
                      <a:pt x="1007577" y="244802"/>
                      <a:pt x="753775" y="224999"/>
                    </a:cubicBezTo>
                    <a:lnTo>
                      <a:pt x="753754" y="77825"/>
                    </a:lnTo>
                    <a:cubicBezTo>
                      <a:pt x="1088564" y="97174"/>
                      <a:pt x="1354490" y="376172"/>
                      <a:pt x="1354490" y="715950"/>
                    </a:cubicBezTo>
                    <a:close/>
                    <a:moveTo>
                      <a:pt x="677244" y="77803"/>
                    </a:moveTo>
                    <a:lnTo>
                      <a:pt x="677244" y="225412"/>
                    </a:lnTo>
                    <a:cubicBezTo>
                      <a:pt x="423893" y="245218"/>
                      <a:pt x="223646" y="458064"/>
                      <a:pt x="223646" y="716364"/>
                    </a:cubicBezTo>
                    <a:cubicBezTo>
                      <a:pt x="223646" y="834719"/>
                      <a:pt x="265494" y="946322"/>
                      <a:pt x="341544" y="1035406"/>
                    </a:cubicBezTo>
                    <a:lnTo>
                      <a:pt x="237149" y="1139801"/>
                    </a:lnTo>
                    <a:cubicBezTo>
                      <a:pt x="133188" y="1022794"/>
                      <a:pt x="76053" y="873854"/>
                      <a:pt x="76053" y="716343"/>
                    </a:cubicBezTo>
                    <a:cubicBezTo>
                      <a:pt x="76488" y="376601"/>
                      <a:pt x="342435" y="98052"/>
                      <a:pt x="677266" y="77793"/>
                    </a:cubicBezTo>
                    <a:close/>
                    <a:moveTo>
                      <a:pt x="715944" y="1354426"/>
                    </a:moveTo>
                    <a:cubicBezTo>
                      <a:pt x="557998" y="1354426"/>
                      <a:pt x="408586" y="1297726"/>
                      <a:pt x="291595" y="1193330"/>
                    </a:cubicBezTo>
                    <a:lnTo>
                      <a:pt x="395990" y="1088935"/>
                    </a:lnTo>
                    <a:cubicBezTo>
                      <a:pt x="485096" y="1165444"/>
                      <a:pt x="597590" y="1207289"/>
                      <a:pt x="715944" y="1207289"/>
                    </a:cubicBezTo>
                    <a:cubicBezTo>
                      <a:pt x="834299" y="1207289"/>
                      <a:pt x="946337" y="1165441"/>
                      <a:pt x="1034986" y="1089391"/>
                    </a:cubicBezTo>
                    <a:lnTo>
                      <a:pt x="1139402" y="1193808"/>
                    </a:lnTo>
                    <a:cubicBezTo>
                      <a:pt x="1022395" y="1297726"/>
                      <a:pt x="873439" y="1354426"/>
                      <a:pt x="715944" y="135442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0" name="Google Shape;9527;p5">
                <a:extLst>
                  <a:ext uri="{FF2B5EF4-FFF2-40B4-BE49-F238E27FC236}">
                    <a16:creationId xmlns:a16="http://schemas.microsoft.com/office/drawing/2014/main" id="{08748F4E-4948-5A79-7D20-4BA3FAF7465F}"/>
                  </a:ext>
                </a:extLst>
              </p:cNvPr>
              <p:cNvSpPr/>
              <p:nvPr/>
            </p:nvSpPr>
            <p:spPr>
              <a:xfrm>
                <a:off x="35192428" y="11137191"/>
                <a:ext cx="1236580" cy="1236580"/>
              </a:xfrm>
              <a:custGeom>
                <a:avLst/>
                <a:gdLst/>
                <a:ahLst/>
                <a:cxnLst/>
                <a:rect l="l" t="t" r="r" b="b"/>
                <a:pathLst>
                  <a:path w="1236580" h="1236580" extrusionOk="0">
                    <a:moveTo>
                      <a:pt x="618290" y="0"/>
                    </a:moveTo>
                    <a:cubicBezTo>
                      <a:pt x="277186" y="0"/>
                      <a:pt x="0" y="277196"/>
                      <a:pt x="0" y="618290"/>
                    </a:cubicBezTo>
                    <a:cubicBezTo>
                      <a:pt x="0" y="959384"/>
                      <a:pt x="277196" y="1236581"/>
                      <a:pt x="618290" y="1236581"/>
                    </a:cubicBezTo>
                    <a:cubicBezTo>
                      <a:pt x="959395" y="1236581"/>
                      <a:pt x="1236581" y="959384"/>
                      <a:pt x="1236581" y="618290"/>
                    </a:cubicBezTo>
                    <a:cubicBezTo>
                      <a:pt x="1236581" y="277196"/>
                      <a:pt x="958928" y="0"/>
                      <a:pt x="618290" y="0"/>
                    </a:cubicBezTo>
                    <a:close/>
                    <a:moveTo>
                      <a:pt x="618290" y="1160103"/>
                    </a:moveTo>
                    <a:cubicBezTo>
                      <a:pt x="319487" y="1160103"/>
                      <a:pt x="76477" y="917115"/>
                      <a:pt x="76477" y="618290"/>
                    </a:cubicBezTo>
                    <a:cubicBezTo>
                      <a:pt x="76477" y="319466"/>
                      <a:pt x="319466" y="76477"/>
                      <a:pt x="618290" y="76477"/>
                    </a:cubicBezTo>
                    <a:cubicBezTo>
                      <a:pt x="917094" y="76477"/>
                      <a:pt x="1160103" y="319466"/>
                      <a:pt x="1160103" y="618290"/>
                    </a:cubicBezTo>
                    <a:cubicBezTo>
                      <a:pt x="1159648" y="917094"/>
                      <a:pt x="917115" y="1160103"/>
                      <a:pt x="618290" y="116010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1" name="Google Shape;9528;p5">
                <a:extLst>
                  <a:ext uri="{FF2B5EF4-FFF2-40B4-BE49-F238E27FC236}">
                    <a16:creationId xmlns:a16="http://schemas.microsoft.com/office/drawing/2014/main" id="{C98A3B54-ECB5-E9C9-DE54-BA40FAB89053}"/>
                  </a:ext>
                </a:extLst>
              </p:cNvPr>
              <p:cNvSpPr/>
              <p:nvPr/>
            </p:nvSpPr>
            <p:spPr>
              <a:xfrm>
                <a:off x="35772475" y="11553921"/>
                <a:ext cx="76486" cy="215085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215085" extrusionOk="0">
                    <a:moveTo>
                      <a:pt x="38243" y="215085"/>
                    </a:moveTo>
                    <a:cubicBezTo>
                      <a:pt x="59396" y="215085"/>
                      <a:pt x="76487" y="197993"/>
                      <a:pt x="76487" y="176842"/>
                    </a:cubicBezTo>
                    <a:lnTo>
                      <a:pt x="76487" y="38244"/>
                    </a:lnTo>
                    <a:cubicBezTo>
                      <a:pt x="76487" y="17091"/>
                      <a:pt x="59395" y="0"/>
                      <a:pt x="38243" y="0"/>
                    </a:cubicBezTo>
                    <a:cubicBezTo>
                      <a:pt x="17091" y="0"/>
                      <a:pt x="0" y="17092"/>
                      <a:pt x="0" y="38244"/>
                    </a:cubicBezTo>
                    <a:lnTo>
                      <a:pt x="0" y="176842"/>
                    </a:lnTo>
                    <a:cubicBezTo>
                      <a:pt x="-21" y="197973"/>
                      <a:pt x="17092" y="215085"/>
                      <a:pt x="38243" y="21508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2" name="Google Shape;9529;p5">
                <a:extLst>
                  <a:ext uri="{FF2B5EF4-FFF2-40B4-BE49-F238E27FC236}">
                    <a16:creationId xmlns:a16="http://schemas.microsoft.com/office/drawing/2014/main" id="{37EC2827-75B7-BC41-52BF-AB4695092326}"/>
                  </a:ext>
                </a:extLst>
              </p:cNvPr>
              <p:cNvSpPr/>
              <p:nvPr/>
            </p:nvSpPr>
            <p:spPr>
              <a:xfrm>
                <a:off x="35772502" y="11803134"/>
                <a:ext cx="76486" cy="76579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76579" extrusionOk="0">
                    <a:moveTo>
                      <a:pt x="52642" y="2785"/>
                    </a:moveTo>
                    <a:cubicBezTo>
                      <a:pt x="38699" y="-3057"/>
                      <a:pt x="21587" y="527"/>
                      <a:pt x="11249" y="11341"/>
                    </a:cubicBezTo>
                    <a:cubicBezTo>
                      <a:pt x="4040" y="18986"/>
                      <a:pt x="0" y="28433"/>
                      <a:pt x="0" y="38335"/>
                    </a:cubicBezTo>
                    <a:cubicBezTo>
                      <a:pt x="0" y="43742"/>
                      <a:pt x="1347" y="48238"/>
                      <a:pt x="3149" y="53190"/>
                    </a:cubicBezTo>
                    <a:cubicBezTo>
                      <a:pt x="5407" y="57685"/>
                      <a:pt x="8100" y="61746"/>
                      <a:pt x="11249" y="65330"/>
                    </a:cubicBezTo>
                    <a:cubicBezTo>
                      <a:pt x="18459" y="72540"/>
                      <a:pt x="28341" y="76579"/>
                      <a:pt x="38243" y="76579"/>
                    </a:cubicBezTo>
                    <a:cubicBezTo>
                      <a:pt x="43195" y="76579"/>
                      <a:pt x="48146" y="75233"/>
                      <a:pt x="52641" y="73430"/>
                    </a:cubicBezTo>
                    <a:cubicBezTo>
                      <a:pt x="57593" y="71172"/>
                      <a:pt x="61632" y="68479"/>
                      <a:pt x="65237" y="65330"/>
                    </a:cubicBezTo>
                    <a:cubicBezTo>
                      <a:pt x="72447" y="58121"/>
                      <a:pt x="76487" y="48238"/>
                      <a:pt x="76487" y="38336"/>
                    </a:cubicBezTo>
                    <a:cubicBezTo>
                      <a:pt x="76487" y="28434"/>
                      <a:pt x="71991" y="18530"/>
                      <a:pt x="65237" y="11342"/>
                    </a:cubicBezTo>
                    <a:cubicBezTo>
                      <a:pt x="61632" y="7737"/>
                      <a:pt x="57593" y="5023"/>
                      <a:pt x="52641" y="27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3" name="Google Shape;9530;p5">
                <a:extLst>
                  <a:ext uri="{FF2B5EF4-FFF2-40B4-BE49-F238E27FC236}">
                    <a16:creationId xmlns:a16="http://schemas.microsoft.com/office/drawing/2014/main" id="{2A775AB8-39B9-20EF-4105-BB40F31C4BAA}"/>
                  </a:ext>
                </a:extLst>
              </p:cNvPr>
              <p:cNvSpPr/>
              <p:nvPr/>
            </p:nvSpPr>
            <p:spPr>
              <a:xfrm>
                <a:off x="34075067" y="11500327"/>
                <a:ext cx="981435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35" h="76486" extrusionOk="0">
                    <a:moveTo>
                      <a:pt x="943192" y="0"/>
                    </a:moveTo>
                    <a:lnTo>
                      <a:pt x="38244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6"/>
                      <a:pt x="17092" y="76487"/>
                      <a:pt x="38244" y="76487"/>
                    </a:cubicBezTo>
                    <a:lnTo>
                      <a:pt x="943192" y="76487"/>
                    </a:lnTo>
                    <a:cubicBezTo>
                      <a:pt x="964344" y="76487"/>
                      <a:pt x="981436" y="59395"/>
                      <a:pt x="981436" y="38244"/>
                    </a:cubicBezTo>
                    <a:cubicBezTo>
                      <a:pt x="981456" y="17091"/>
                      <a:pt x="964364" y="0"/>
                      <a:pt x="94321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4" name="Google Shape;9531;p5">
                <a:extLst>
                  <a:ext uri="{FF2B5EF4-FFF2-40B4-BE49-F238E27FC236}">
                    <a16:creationId xmlns:a16="http://schemas.microsoft.com/office/drawing/2014/main" id="{CC3DC796-A6CB-9B5A-F7B7-068A54534224}"/>
                  </a:ext>
                </a:extLst>
              </p:cNvPr>
              <p:cNvSpPr/>
              <p:nvPr/>
            </p:nvSpPr>
            <p:spPr>
              <a:xfrm>
                <a:off x="34075115" y="11674969"/>
                <a:ext cx="981456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56" h="76486" extrusionOk="0">
                    <a:moveTo>
                      <a:pt x="981435" y="38243"/>
                    </a:moveTo>
                    <a:cubicBezTo>
                      <a:pt x="981435" y="17091"/>
                      <a:pt x="964344" y="0"/>
                      <a:pt x="943192" y="0"/>
                    </a:cubicBez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943192" y="76487"/>
                    </a:lnTo>
                    <a:cubicBezTo>
                      <a:pt x="964365" y="76487"/>
                      <a:pt x="981456" y="59395"/>
                      <a:pt x="981456" y="3824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2" name="Google Shape;9532;p5">
                <a:extLst>
                  <a:ext uri="{FF2B5EF4-FFF2-40B4-BE49-F238E27FC236}">
                    <a16:creationId xmlns:a16="http://schemas.microsoft.com/office/drawing/2014/main" id="{F8516BFB-2ACB-439E-DFD1-2501E03C642D}"/>
                  </a:ext>
                </a:extLst>
              </p:cNvPr>
              <p:cNvSpPr/>
              <p:nvPr/>
            </p:nvSpPr>
            <p:spPr>
              <a:xfrm>
                <a:off x="34075072" y="11849567"/>
                <a:ext cx="529194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6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6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3"/>
                    </a:cubicBezTo>
                    <a:cubicBezTo>
                      <a:pt x="529195" y="17091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3" name="Google Shape;9533;p5">
                <a:extLst>
                  <a:ext uri="{FF2B5EF4-FFF2-40B4-BE49-F238E27FC236}">
                    <a16:creationId xmlns:a16="http://schemas.microsoft.com/office/drawing/2014/main" id="{D799D206-6E61-E253-5A83-774A37049B02}"/>
                  </a:ext>
                </a:extLst>
              </p:cNvPr>
              <p:cNvSpPr/>
              <p:nvPr/>
            </p:nvSpPr>
            <p:spPr>
              <a:xfrm>
                <a:off x="34075072" y="12024161"/>
                <a:ext cx="529194" cy="76487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7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4"/>
                    </a:cubicBezTo>
                    <a:cubicBezTo>
                      <a:pt x="529195" y="17568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4" name="Group 9533">
            <a:extLst>
              <a:ext uri="{FF2B5EF4-FFF2-40B4-BE49-F238E27FC236}">
                <a16:creationId xmlns:a16="http://schemas.microsoft.com/office/drawing/2014/main" id="{486BA24B-4DFE-D6F8-9FCF-F0E9DF3661BA}"/>
              </a:ext>
            </a:extLst>
          </p:cNvPr>
          <p:cNvGrpSpPr/>
          <p:nvPr/>
        </p:nvGrpSpPr>
        <p:grpSpPr>
          <a:xfrm>
            <a:off x="476251" y="2633762"/>
            <a:ext cx="863600" cy="863600"/>
            <a:chOff x="476251" y="2524425"/>
            <a:chExt cx="863600" cy="863600"/>
          </a:xfrm>
        </p:grpSpPr>
        <p:sp>
          <p:nvSpPr>
            <p:cNvPr id="9519" name="Oval 9518">
              <a:extLst>
                <a:ext uri="{FF2B5EF4-FFF2-40B4-BE49-F238E27FC236}">
                  <a16:creationId xmlns:a16="http://schemas.microsoft.com/office/drawing/2014/main" id="{1925265A-636F-2187-ACC6-C69EC986EFF4}"/>
                </a:ext>
              </a:extLst>
            </p:cNvPr>
            <p:cNvSpPr/>
            <p:nvPr/>
          </p:nvSpPr>
          <p:spPr>
            <a:xfrm>
              <a:off x="476251" y="25244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5" name="Google Shape;9506;p5">
              <a:extLst>
                <a:ext uri="{FF2B5EF4-FFF2-40B4-BE49-F238E27FC236}">
                  <a16:creationId xmlns:a16="http://schemas.microsoft.com/office/drawing/2014/main" id="{86A2F749-9E95-5857-97BC-C18C0366A7FB}"/>
                </a:ext>
              </a:extLst>
            </p:cNvPr>
            <p:cNvGrpSpPr/>
            <p:nvPr/>
          </p:nvGrpSpPr>
          <p:grpSpPr>
            <a:xfrm>
              <a:off x="688205" y="2736381"/>
              <a:ext cx="439693" cy="439689"/>
              <a:chOff x="-15387813" y="9448801"/>
              <a:chExt cx="2970002" cy="2970001"/>
            </a:xfrm>
          </p:grpSpPr>
          <p:sp>
            <p:nvSpPr>
              <p:cNvPr id="26" name="Google Shape;9507;p5">
                <a:extLst>
                  <a:ext uri="{FF2B5EF4-FFF2-40B4-BE49-F238E27FC236}">
                    <a16:creationId xmlns:a16="http://schemas.microsoft.com/office/drawing/2014/main" id="{590861A2-344F-72FB-2B15-A272136B20D3}"/>
                  </a:ext>
                </a:extLst>
              </p:cNvPr>
              <p:cNvSpPr/>
              <p:nvPr/>
            </p:nvSpPr>
            <p:spPr>
              <a:xfrm>
                <a:off x="-13345926" y="10648520"/>
                <a:ext cx="928115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15" h="1770250" extrusionOk="0">
                    <a:moveTo>
                      <a:pt x="758520" y="0"/>
                    </a:moveTo>
                    <a:cubicBezTo>
                      <a:pt x="738424" y="26207"/>
                      <a:pt x="714931" y="49659"/>
                      <a:pt x="688662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6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lnTo>
                      <a:pt x="92813" y="1607831"/>
                    </a:lnTo>
                    <a:cubicBezTo>
                      <a:pt x="92813" y="1665857"/>
                      <a:pt x="123764" y="1719476"/>
                      <a:pt x="174021" y="1748497"/>
                    </a:cubicBezTo>
                    <a:cubicBezTo>
                      <a:pt x="224281" y="1777502"/>
                      <a:pt x="286181" y="1777502"/>
                      <a:pt x="336443" y="1748497"/>
                    </a:cubicBezTo>
                    <a:cubicBezTo>
                      <a:pt x="386703" y="1719472"/>
                      <a:pt x="417651" y="1665857"/>
                      <a:pt x="417651" y="1607831"/>
                    </a:cubicBezTo>
                    <a:lnTo>
                      <a:pt x="417651" y="1120565"/>
                    </a:lnTo>
                    <a:lnTo>
                      <a:pt x="510464" y="1120565"/>
                    </a:lnTo>
                    <a:lnTo>
                      <a:pt x="510464" y="1607831"/>
                    </a:lnTo>
                    <a:cubicBezTo>
                      <a:pt x="510464" y="1665857"/>
                      <a:pt x="541415" y="1719476"/>
                      <a:pt x="591672" y="1748497"/>
                    </a:cubicBezTo>
                    <a:cubicBezTo>
                      <a:pt x="641932" y="1777502"/>
                      <a:pt x="703832" y="1777502"/>
                      <a:pt x="754094" y="1748497"/>
                    </a:cubicBezTo>
                    <a:cubicBezTo>
                      <a:pt x="804354" y="1719472"/>
                      <a:pt x="835302" y="1665857"/>
                      <a:pt x="835302" y="1607831"/>
                    </a:cubicBezTo>
                    <a:lnTo>
                      <a:pt x="835302" y="1112445"/>
                    </a:lnTo>
                    <a:cubicBezTo>
                      <a:pt x="862421" y="1102853"/>
                      <a:pt x="885894" y="1085099"/>
                      <a:pt x="902509" y="1061626"/>
                    </a:cubicBezTo>
                    <a:cubicBezTo>
                      <a:pt x="919125" y="1038154"/>
                      <a:pt x="928074" y="1010103"/>
                      <a:pt x="928116" y="981346"/>
                    </a:cubicBezTo>
                    <a:lnTo>
                      <a:pt x="928116" y="285253"/>
                    </a:lnTo>
                    <a:cubicBezTo>
                      <a:pt x="928074" y="226850"/>
                      <a:pt x="912308" y="169550"/>
                      <a:pt x="882455" y="119352"/>
                    </a:cubicBezTo>
                    <a:cubicBezTo>
                      <a:pt x="852602" y="69153"/>
                      <a:pt x="809801" y="27929"/>
                      <a:pt x="758505" y="0"/>
                    </a:cubicBezTo>
                    <a:close/>
                    <a:moveTo>
                      <a:pt x="324847" y="1607831"/>
                    </a:moveTo>
                    <a:cubicBezTo>
                      <a:pt x="324847" y="1646282"/>
                      <a:pt x="293689" y="1677440"/>
                      <a:pt x="255238" y="1677440"/>
                    </a:cubicBezTo>
                    <a:cubicBezTo>
                      <a:pt x="216787" y="1677440"/>
                      <a:pt x="185628" y="1646282"/>
                      <a:pt x="185628" y="1607831"/>
                    </a:cubicBezTo>
                    <a:lnTo>
                      <a:pt x="185628" y="1120565"/>
                    </a:lnTo>
                    <a:lnTo>
                      <a:pt x="324847" y="1120565"/>
                    </a:lnTo>
                    <a:close/>
                    <a:moveTo>
                      <a:pt x="742503" y="1607831"/>
                    </a:moveTo>
                    <a:cubicBezTo>
                      <a:pt x="742503" y="1646282"/>
                      <a:pt x="711345" y="1677440"/>
                      <a:pt x="672894" y="1677440"/>
                    </a:cubicBezTo>
                    <a:cubicBezTo>
                      <a:pt x="634443" y="1677440"/>
                      <a:pt x="603285" y="1646282"/>
                      <a:pt x="603285" y="1607831"/>
                    </a:cubicBezTo>
                    <a:lnTo>
                      <a:pt x="603285" y="1120565"/>
                    </a:lnTo>
                    <a:lnTo>
                      <a:pt x="742503" y="1120565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" name="Google Shape;9508;p5">
                <a:extLst>
                  <a:ext uri="{FF2B5EF4-FFF2-40B4-BE49-F238E27FC236}">
                    <a16:creationId xmlns:a16="http://schemas.microsoft.com/office/drawing/2014/main" id="{1CF69C4A-AB23-969C-7483-22B6C0314671}"/>
                  </a:ext>
                </a:extLst>
              </p:cNvPr>
              <p:cNvSpPr/>
              <p:nvPr/>
            </p:nvSpPr>
            <p:spPr>
              <a:xfrm>
                <a:off x="-13160298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3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" name="Google Shape;9509;p5">
                <a:extLst>
                  <a:ext uri="{FF2B5EF4-FFF2-40B4-BE49-F238E27FC236}">
                    <a16:creationId xmlns:a16="http://schemas.microsoft.com/office/drawing/2014/main" id="{403B4F97-A31E-96B5-BB9B-66CE02387B82}"/>
                  </a:ext>
                </a:extLst>
              </p:cNvPr>
              <p:cNvSpPr/>
              <p:nvPr/>
            </p:nvSpPr>
            <p:spPr>
              <a:xfrm>
                <a:off x="-14181236" y="10144892"/>
                <a:ext cx="556570" cy="556884"/>
              </a:xfrm>
              <a:custGeom>
                <a:avLst/>
                <a:gdLst/>
                <a:ahLst/>
                <a:cxnLst/>
                <a:rect l="l" t="t" r="r" b="b"/>
                <a:pathLst>
                  <a:path w="556570" h="556884" extrusionOk="0">
                    <a:moveTo>
                      <a:pt x="1" y="278439"/>
                    </a:moveTo>
                    <a:cubicBezTo>
                      <a:pt x="22" y="349894"/>
                      <a:pt x="27617" y="418591"/>
                      <a:pt x="77046" y="470173"/>
                    </a:cubicBezTo>
                    <a:lnTo>
                      <a:pt x="77046" y="470194"/>
                    </a:lnTo>
                    <a:cubicBezTo>
                      <a:pt x="95961" y="490062"/>
                      <a:pt x="117673" y="507050"/>
                      <a:pt x="141516" y="520599"/>
                    </a:cubicBezTo>
                    <a:lnTo>
                      <a:pt x="142345" y="521096"/>
                    </a:lnTo>
                    <a:cubicBezTo>
                      <a:pt x="149741" y="525260"/>
                      <a:pt x="157344" y="529051"/>
                      <a:pt x="165134" y="532532"/>
                    </a:cubicBezTo>
                    <a:cubicBezTo>
                      <a:pt x="165921" y="532884"/>
                      <a:pt x="166646" y="533298"/>
                      <a:pt x="167434" y="533650"/>
                    </a:cubicBezTo>
                    <a:cubicBezTo>
                      <a:pt x="174685" y="536820"/>
                      <a:pt x="182122" y="539575"/>
                      <a:pt x="189663" y="542124"/>
                    </a:cubicBezTo>
                    <a:cubicBezTo>
                      <a:pt x="191051" y="542600"/>
                      <a:pt x="192398" y="543201"/>
                      <a:pt x="193806" y="543636"/>
                    </a:cubicBezTo>
                    <a:cubicBezTo>
                      <a:pt x="200850" y="545894"/>
                      <a:pt x="208060" y="547697"/>
                      <a:pt x="215311" y="549395"/>
                    </a:cubicBezTo>
                    <a:cubicBezTo>
                      <a:pt x="217300" y="549851"/>
                      <a:pt x="219206" y="550493"/>
                      <a:pt x="221215" y="550908"/>
                    </a:cubicBezTo>
                    <a:cubicBezTo>
                      <a:pt x="228259" y="552379"/>
                      <a:pt x="235489" y="553394"/>
                      <a:pt x="242720" y="554326"/>
                    </a:cubicBezTo>
                    <a:cubicBezTo>
                      <a:pt x="244999" y="554616"/>
                      <a:pt x="247194" y="555113"/>
                      <a:pt x="249494" y="555362"/>
                    </a:cubicBezTo>
                    <a:cubicBezTo>
                      <a:pt x="268740" y="557392"/>
                      <a:pt x="288131" y="557392"/>
                      <a:pt x="307377" y="555362"/>
                    </a:cubicBezTo>
                    <a:cubicBezTo>
                      <a:pt x="309677" y="555113"/>
                      <a:pt x="311873" y="554616"/>
                      <a:pt x="314151" y="554326"/>
                    </a:cubicBezTo>
                    <a:cubicBezTo>
                      <a:pt x="321382" y="553394"/>
                      <a:pt x="328591" y="552399"/>
                      <a:pt x="335656" y="550908"/>
                    </a:cubicBezTo>
                    <a:cubicBezTo>
                      <a:pt x="337665" y="550493"/>
                      <a:pt x="339571" y="549851"/>
                      <a:pt x="341560" y="549395"/>
                    </a:cubicBezTo>
                    <a:cubicBezTo>
                      <a:pt x="348832" y="547697"/>
                      <a:pt x="356042" y="545894"/>
                      <a:pt x="363065" y="543636"/>
                    </a:cubicBezTo>
                    <a:cubicBezTo>
                      <a:pt x="364473" y="543180"/>
                      <a:pt x="365799" y="542600"/>
                      <a:pt x="367208" y="542124"/>
                    </a:cubicBezTo>
                    <a:cubicBezTo>
                      <a:pt x="374749" y="539576"/>
                      <a:pt x="382207" y="536820"/>
                      <a:pt x="389437" y="533650"/>
                    </a:cubicBezTo>
                    <a:cubicBezTo>
                      <a:pt x="390225" y="533298"/>
                      <a:pt x="390950" y="532884"/>
                      <a:pt x="391737" y="532532"/>
                    </a:cubicBezTo>
                    <a:cubicBezTo>
                      <a:pt x="399527" y="529051"/>
                      <a:pt x="407129" y="525260"/>
                      <a:pt x="414526" y="521096"/>
                    </a:cubicBezTo>
                    <a:lnTo>
                      <a:pt x="415354" y="520599"/>
                    </a:lnTo>
                    <a:cubicBezTo>
                      <a:pt x="439200" y="507050"/>
                      <a:pt x="460911" y="490062"/>
                      <a:pt x="479825" y="470194"/>
                    </a:cubicBezTo>
                    <a:lnTo>
                      <a:pt x="479825" y="470173"/>
                    </a:lnTo>
                    <a:cubicBezTo>
                      <a:pt x="543510" y="403301"/>
                      <a:pt x="569864" y="309183"/>
                      <a:pt x="550161" y="218959"/>
                    </a:cubicBezTo>
                    <a:cubicBezTo>
                      <a:pt x="530480" y="128714"/>
                      <a:pt x="467314" y="54135"/>
                      <a:pt x="381544" y="19868"/>
                    </a:cubicBezTo>
                    <a:cubicBezTo>
                      <a:pt x="295796" y="-14398"/>
                      <a:pt x="198614" y="-3894"/>
                      <a:pt x="122168" y="47919"/>
                    </a:cubicBezTo>
                    <a:cubicBezTo>
                      <a:pt x="45722" y="99733"/>
                      <a:pt x="-42" y="186083"/>
                      <a:pt x="0" y="278439"/>
                    </a:cubicBezTo>
                    <a:close/>
                    <a:moveTo>
                      <a:pt x="278439" y="92814"/>
                    </a:moveTo>
                    <a:cubicBezTo>
                      <a:pt x="327662" y="92814"/>
                      <a:pt x="374879" y="112371"/>
                      <a:pt x="409702" y="147175"/>
                    </a:cubicBezTo>
                    <a:cubicBezTo>
                      <a:pt x="444507" y="182001"/>
                      <a:pt x="464064" y="229216"/>
                      <a:pt x="464064" y="278439"/>
                    </a:cubicBezTo>
                    <a:cubicBezTo>
                      <a:pt x="464064" y="327661"/>
                      <a:pt x="444507" y="374879"/>
                      <a:pt x="409702" y="409702"/>
                    </a:cubicBezTo>
                    <a:cubicBezTo>
                      <a:pt x="374877" y="444507"/>
                      <a:pt x="327661" y="464064"/>
                      <a:pt x="278439" y="464064"/>
                    </a:cubicBezTo>
                    <a:cubicBezTo>
                      <a:pt x="229216" y="464064"/>
                      <a:pt x="181999" y="444507"/>
                      <a:pt x="147175" y="409702"/>
                    </a:cubicBezTo>
                    <a:cubicBezTo>
                      <a:pt x="112371" y="374877"/>
                      <a:pt x="92814" y="327661"/>
                      <a:pt x="92814" y="278439"/>
                    </a:cubicBezTo>
                    <a:cubicBezTo>
                      <a:pt x="92876" y="229215"/>
                      <a:pt x="112453" y="182041"/>
                      <a:pt x="147239" y="147239"/>
                    </a:cubicBezTo>
                    <a:cubicBezTo>
                      <a:pt x="182044" y="112455"/>
                      <a:pt x="229216" y="92877"/>
                      <a:pt x="278439" y="9281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" name="Google Shape;9510;p5">
                <a:extLst>
                  <a:ext uri="{FF2B5EF4-FFF2-40B4-BE49-F238E27FC236}">
                    <a16:creationId xmlns:a16="http://schemas.microsoft.com/office/drawing/2014/main" id="{1027A2B6-626E-470F-7A97-9D6CE970089F}"/>
                  </a:ext>
                </a:extLst>
              </p:cNvPr>
              <p:cNvSpPr/>
              <p:nvPr/>
            </p:nvSpPr>
            <p:spPr>
              <a:xfrm>
                <a:off x="-14366875" y="10648547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15" y="285253"/>
                    </a:moveTo>
                    <a:lnTo>
                      <a:pt x="15" y="981346"/>
                    </a:lnTo>
                    <a:cubicBezTo>
                      <a:pt x="56" y="1010102"/>
                      <a:pt x="9006" y="1038153"/>
                      <a:pt x="25621" y="1061627"/>
                    </a:cubicBezTo>
                    <a:cubicBezTo>
                      <a:pt x="42236" y="1085100"/>
                      <a:pt x="65709" y="1102853"/>
                      <a:pt x="92828" y="1112445"/>
                    </a:cubicBez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3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3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5" y="1006973"/>
                      <a:pt x="814536" y="1027732"/>
                      <a:pt x="788909" y="1027753"/>
                    </a:cubicBezTo>
                    <a:lnTo>
                      <a:pt x="696097" y="1027753"/>
                    </a:lnTo>
                    <a:lnTo>
                      <a:pt x="696097" y="656503"/>
                    </a:lnTo>
                    <a:cubicBezTo>
                      <a:pt x="696097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7" y="1027753"/>
                    </a:lnTo>
                    <a:lnTo>
                      <a:pt x="324847" y="656503"/>
                    </a:lnTo>
                    <a:cubicBezTo>
                      <a:pt x="324847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7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close/>
                    <a:moveTo>
                      <a:pt x="603296" y="1120565"/>
                    </a:moveTo>
                    <a:lnTo>
                      <a:pt x="742515" y="1120565"/>
                    </a:lnTo>
                    <a:lnTo>
                      <a:pt x="742515" y="1607831"/>
                    </a:lnTo>
                    <a:cubicBezTo>
                      <a:pt x="742515" y="1646282"/>
                      <a:pt x="711356" y="1677440"/>
                      <a:pt x="672906" y="1677440"/>
                    </a:cubicBezTo>
                    <a:cubicBezTo>
                      <a:pt x="634455" y="1677440"/>
                      <a:pt x="603296" y="1646282"/>
                      <a:pt x="603296" y="1607831"/>
                    </a:cubicBezTo>
                    <a:close/>
                    <a:moveTo>
                      <a:pt x="185640" y="1120565"/>
                    </a:moveTo>
                    <a:lnTo>
                      <a:pt x="324859" y="1120565"/>
                    </a:lnTo>
                    <a:lnTo>
                      <a:pt x="324859" y="1607831"/>
                    </a:lnTo>
                    <a:cubicBezTo>
                      <a:pt x="324859" y="1646282"/>
                      <a:pt x="293700" y="1677440"/>
                      <a:pt x="255249" y="1677440"/>
                    </a:cubicBezTo>
                    <a:cubicBezTo>
                      <a:pt x="216798" y="1677440"/>
                      <a:pt x="185640" y="1646282"/>
                      <a:pt x="185640" y="16078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" name="Google Shape;9511;p5">
                <a:extLst>
                  <a:ext uri="{FF2B5EF4-FFF2-40B4-BE49-F238E27FC236}">
                    <a16:creationId xmlns:a16="http://schemas.microsoft.com/office/drawing/2014/main" id="{EB0B203B-7715-F239-7923-CFAAB51AFC1E}"/>
                  </a:ext>
                </a:extLst>
              </p:cNvPr>
              <p:cNvSpPr/>
              <p:nvPr/>
            </p:nvSpPr>
            <p:spPr>
              <a:xfrm>
                <a:off x="-13995603" y="9448801"/>
                <a:ext cx="324838" cy="417654"/>
              </a:xfrm>
              <a:custGeom>
                <a:avLst/>
                <a:gdLst/>
                <a:ahLst/>
                <a:cxnLst/>
                <a:rect l="l" t="t" r="r" b="b"/>
                <a:pathLst>
                  <a:path w="324838" h="417654" extrusionOk="0">
                    <a:moveTo>
                      <a:pt x="139212" y="324842"/>
                    </a:moveTo>
                    <a:lnTo>
                      <a:pt x="139212" y="323910"/>
                    </a:lnTo>
                    <a:cubicBezTo>
                      <a:pt x="144412" y="323785"/>
                      <a:pt x="149612" y="323972"/>
                      <a:pt x="154771" y="324427"/>
                    </a:cubicBezTo>
                    <a:lnTo>
                      <a:pt x="159577" y="324759"/>
                    </a:lnTo>
                    <a:cubicBezTo>
                      <a:pt x="201467" y="327266"/>
                      <a:pt x="242509" y="312163"/>
                      <a:pt x="272776" y="283076"/>
                    </a:cubicBezTo>
                    <a:cubicBezTo>
                      <a:pt x="305965" y="251731"/>
                      <a:pt x="324797" y="208078"/>
                      <a:pt x="324838" y="162420"/>
                    </a:cubicBezTo>
                    <a:cubicBezTo>
                      <a:pt x="324838" y="104393"/>
                      <a:pt x="293887" y="50774"/>
                      <a:pt x="243630" y="21753"/>
                    </a:cubicBezTo>
                    <a:cubicBezTo>
                      <a:pt x="193370" y="-7251"/>
                      <a:pt x="131470" y="-7251"/>
                      <a:pt x="81208" y="21753"/>
                    </a:cubicBezTo>
                    <a:cubicBezTo>
                      <a:pt x="30948" y="50778"/>
                      <a:pt x="0" y="104393"/>
                      <a:pt x="0" y="162420"/>
                    </a:cubicBezTo>
                    <a:cubicBezTo>
                      <a:pt x="0" y="188047"/>
                      <a:pt x="20779" y="208826"/>
                      <a:pt x="46406" y="208826"/>
                    </a:cubicBezTo>
                    <a:cubicBezTo>
                      <a:pt x="72033" y="208826"/>
                      <a:pt x="92813" y="188047"/>
                      <a:pt x="92813" y="162420"/>
                    </a:cubicBezTo>
                    <a:cubicBezTo>
                      <a:pt x="92813" y="123969"/>
                      <a:pt x="123971" y="92810"/>
                      <a:pt x="162422" y="92810"/>
                    </a:cubicBezTo>
                    <a:cubicBezTo>
                      <a:pt x="200873" y="92810"/>
                      <a:pt x="232031" y="123969"/>
                      <a:pt x="232031" y="162420"/>
                    </a:cubicBezTo>
                    <a:cubicBezTo>
                      <a:pt x="232011" y="182495"/>
                      <a:pt x="223765" y="201678"/>
                      <a:pt x="209201" y="215477"/>
                    </a:cubicBezTo>
                    <a:cubicBezTo>
                      <a:pt x="197496" y="226912"/>
                      <a:pt x="181565" y="232941"/>
                      <a:pt x="165239" y="232112"/>
                    </a:cubicBezTo>
                    <a:lnTo>
                      <a:pt x="161551" y="231843"/>
                    </a:lnTo>
                    <a:lnTo>
                      <a:pt x="161531" y="231864"/>
                    </a:lnTo>
                    <a:cubicBezTo>
                      <a:pt x="130393" y="226830"/>
                      <a:pt x="98572" y="235137"/>
                      <a:pt x="73900" y="254797"/>
                    </a:cubicBezTo>
                    <a:cubicBezTo>
                      <a:pt x="55130" y="273132"/>
                      <a:pt x="45103" y="298635"/>
                      <a:pt x="46408" y="324842"/>
                    </a:cubicBezTo>
                    <a:lnTo>
                      <a:pt x="46408" y="371248"/>
                    </a:lnTo>
                    <a:cubicBezTo>
                      <a:pt x="46408" y="396875"/>
                      <a:pt x="67188" y="417654"/>
                      <a:pt x="92815" y="417654"/>
                    </a:cubicBezTo>
                    <a:cubicBezTo>
                      <a:pt x="118441" y="417654"/>
                      <a:pt x="139221" y="396875"/>
                      <a:pt x="139221" y="37124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" name="Google Shape;9512;p5">
                <a:extLst>
                  <a:ext uri="{FF2B5EF4-FFF2-40B4-BE49-F238E27FC236}">
                    <a16:creationId xmlns:a16="http://schemas.microsoft.com/office/drawing/2014/main" id="{5721EDCD-4475-E4C8-81F9-4EA7D144B9A2}"/>
                  </a:ext>
                </a:extLst>
              </p:cNvPr>
              <p:cNvSpPr/>
              <p:nvPr/>
            </p:nvSpPr>
            <p:spPr>
              <a:xfrm>
                <a:off x="-13949204" y="9912862"/>
                <a:ext cx="92812" cy="139218"/>
              </a:xfrm>
              <a:custGeom>
                <a:avLst/>
                <a:gdLst/>
                <a:ahLst/>
                <a:cxnLst/>
                <a:rect l="l" t="t" r="r" b="b"/>
                <a:pathLst>
                  <a:path w="92812" h="139218" extrusionOk="0">
                    <a:moveTo>
                      <a:pt x="46406" y="0"/>
                    </a:moveTo>
                    <a:cubicBezTo>
                      <a:pt x="20779" y="0"/>
                      <a:pt x="0" y="20779"/>
                      <a:pt x="0" y="46406"/>
                    </a:cubicBezTo>
                    <a:lnTo>
                      <a:pt x="0" y="92813"/>
                    </a:lnTo>
                    <a:cubicBezTo>
                      <a:pt x="0" y="118439"/>
                      <a:pt x="20779" y="139219"/>
                      <a:pt x="46406" y="139219"/>
                    </a:cubicBezTo>
                    <a:cubicBezTo>
                      <a:pt x="72033" y="139219"/>
                      <a:pt x="92813" y="118439"/>
                      <a:pt x="92813" y="92813"/>
                    </a:cubicBezTo>
                    <a:lnTo>
                      <a:pt x="92813" y="46406"/>
                    </a:lnTo>
                    <a:cubicBezTo>
                      <a:pt x="92813" y="20779"/>
                      <a:pt x="72033" y="0"/>
                      <a:pt x="4640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2" name="Google Shape;9513;p5">
                <a:extLst>
                  <a:ext uri="{FF2B5EF4-FFF2-40B4-BE49-F238E27FC236}">
                    <a16:creationId xmlns:a16="http://schemas.microsoft.com/office/drawing/2014/main" id="{7D3518F0-203F-D3A8-09B7-829F949390B4}"/>
                  </a:ext>
                </a:extLst>
              </p:cNvPr>
              <p:cNvSpPr/>
              <p:nvPr/>
            </p:nvSpPr>
            <p:spPr>
              <a:xfrm>
                <a:off x="-15387813" y="10648552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92828" y="1112445"/>
                    </a:move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2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2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1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8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7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close/>
                    <a:moveTo>
                      <a:pt x="603297" y="1120566"/>
                    </a:moveTo>
                    <a:lnTo>
                      <a:pt x="742515" y="1120566"/>
                    </a:lnTo>
                    <a:lnTo>
                      <a:pt x="742515" y="1607832"/>
                    </a:lnTo>
                    <a:cubicBezTo>
                      <a:pt x="742515" y="1646283"/>
                      <a:pt x="711357" y="1677441"/>
                      <a:pt x="672906" y="1677441"/>
                    </a:cubicBezTo>
                    <a:cubicBezTo>
                      <a:pt x="634455" y="1677441"/>
                      <a:pt x="603297" y="1646283"/>
                      <a:pt x="603297" y="1607832"/>
                    </a:cubicBezTo>
                    <a:close/>
                    <a:moveTo>
                      <a:pt x="185640" y="1120566"/>
                    </a:moveTo>
                    <a:lnTo>
                      <a:pt x="324859" y="1120566"/>
                    </a:lnTo>
                    <a:lnTo>
                      <a:pt x="324859" y="1607832"/>
                    </a:lnTo>
                    <a:cubicBezTo>
                      <a:pt x="324859" y="1646283"/>
                      <a:pt x="293701" y="1677441"/>
                      <a:pt x="255250" y="1677441"/>
                    </a:cubicBezTo>
                    <a:cubicBezTo>
                      <a:pt x="216799" y="1677441"/>
                      <a:pt x="185640" y="1646283"/>
                      <a:pt x="185640" y="160783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3" name="Google Shape;9514;p5">
                <a:extLst>
                  <a:ext uri="{FF2B5EF4-FFF2-40B4-BE49-F238E27FC236}">
                    <a16:creationId xmlns:a16="http://schemas.microsoft.com/office/drawing/2014/main" id="{15F3E91B-367E-A154-987E-4A6645803149}"/>
                  </a:ext>
                </a:extLst>
              </p:cNvPr>
              <p:cNvSpPr/>
              <p:nvPr/>
            </p:nvSpPr>
            <p:spPr>
              <a:xfrm>
                <a:off x="-15202173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2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5" name="Group 9534">
            <a:extLst>
              <a:ext uri="{FF2B5EF4-FFF2-40B4-BE49-F238E27FC236}">
                <a16:creationId xmlns:a16="http://schemas.microsoft.com/office/drawing/2014/main" id="{04A49D0A-B19F-A3DB-6A1A-5A08CA7A4719}"/>
              </a:ext>
            </a:extLst>
          </p:cNvPr>
          <p:cNvGrpSpPr/>
          <p:nvPr/>
        </p:nvGrpSpPr>
        <p:grpSpPr>
          <a:xfrm>
            <a:off x="476251" y="3801484"/>
            <a:ext cx="863600" cy="863600"/>
            <a:chOff x="476251" y="3870625"/>
            <a:chExt cx="863600" cy="863600"/>
          </a:xfrm>
        </p:grpSpPr>
        <p:sp>
          <p:nvSpPr>
            <p:cNvPr id="9520" name="Oval 9519">
              <a:extLst>
                <a:ext uri="{FF2B5EF4-FFF2-40B4-BE49-F238E27FC236}">
                  <a16:creationId xmlns:a16="http://schemas.microsoft.com/office/drawing/2014/main" id="{A36123D2-8F1A-90D4-79F0-6FD5E45089E0}"/>
                </a:ext>
              </a:extLst>
            </p:cNvPr>
            <p:cNvSpPr/>
            <p:nvPr/>
          </p:nvSpPr>
          <p:spPr>
            <a:xfrm>
              <a:off x="476251" y="38706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94" name="Graphic 2">
              <a:extLst>
                <a:ext uri="{FF2B5EF4-FFF2-40B4-BE49-F238E27FC236}">
                  <a16:creationId xmlns:a16="http://schemas.microsoft.com/office/drawing/2014/main" id="{CB14C512-DDDC-F674-AB99-ECA5F068B576}"/>
                </a:ext>
              </a:extLst>
            </p:cNvPr>
            <p:cNvGrpSpPr/>
            <p:nvPr/>
          </p:nvGrpSpPr>
          <p:grpSpPr>
            <a:xfrm>
              <a:off x="696973" y="4091347"/>
              <a:ext cx="422157" cy="422157"/>
              <a:chOff x="5800725" y="3057525"/>
              <a:chExt cx="590550" cy="590550"/>
            </a:xfrm>
            <a:solidFill>
              <a:schemeClr val="bg1"/>
            </a:solidFill>
          </p:grpSpPr>
          <p:sp>
            <p:nvSpPr>
              <p:cNvPr id="9495" name="Freeform: Shape 9494">
                <a:extLst>
                  <a:ext uri="{FF2B5EF4-FFF2-40B4-BE49-F238E27FC236}">
                    <a16:creationId xmlns:a16="http://schemas.microsoft.com/office/drawing/2014/main" id="{8AED6572-8C18-F31A-2938-E1F60B79618D}"/>
                  </a:ext>
                </a:extLst>
              </p:cNvPr>
              <p:cNvSpPr/>
              <p:nvPr/>
            </p:nvSpPr>
            <p:spPr>
              <a:xfrm>
                <a:off x="5800725" y="3057525"/>
                <a:ext cx="590550" cy="590550"/>
              </a:xfrm>
              <a:custGeom>
                <a:avLst/>
                <a:gdLst>
                  <a:gd name="connsiteX0" fmla="*/ 542925 w 590550"/>
                  <a:gd name="connsiteY0" fmla="*/ 0 h 590550"/>
                  <a:gd name="connsiteX1" fmla="*/ 104775 w 590550"/>
                  <a:gd name="connsiteY1" fmla="*/ 0 h 590550"/>
                  <a:gd name="connsiteX2" fmla="*/ 57150 w 590550"/>
                  <a:gd name="connsiteY2" fmla="*/ 47625 h 590550"/>
                  <a:gd name="connsiteX3" fmla="*/ 57150 w 590550"/>
                  <a:gd name="connsiteY3" fmla="*/ 292437 h 590550"/>
                  <a:gd name="connsiteX4" fmla="*/ 38100 w 590550"/>
                  <a:gd name="connsiteY4" fmla="*/ 327222 h 590550"/>
                  <a:gd name="connsiteX5" fmla="*/ 41062 w 590550"/>
                  <a:gd name="connsiteY5" fmla="*/ 342624 h 590550"/>
                  <a:gd name="connsiteX6" fmla="*/ 67294 w 590550"/>
                  <a:gd name="connsiteY6" fmla="*/ 408203 h 590550"/>
                  <a:gd name="connsiteX7" fmla="*/ 94536 w 590550"/>
                  <a:gd name="connsiteY7" fmla="*/ 434921 h 590550"/>
                  <a:gd name="connsiteX8" fmla="*/ 12659 w 590550"/>
                  <a:gd name="connsiteY8" fmla="*/ 516798 h 590550"/>
                  <a:gd name="connsiteX9" fmla="*/ 0 w 590550"/>
                  <a:gd name="connsiteY9" fmla="*/ 547345 h 590550"/>
                  <a:gd name="connsiteX10" fmla="*/ 43205 w 590550"/>
                  <a:gd name="connsiteY10" fmla="*/ 590550 h 590550"/>
                  <a:gd name="connsiteX11" fmla="*/ 73752 w 590550"/>
                  <a:gd name="connsiteY11" fmla="*/ 577891 h 590550"/>
                  <a:gd name="connsiteX12" fmla="*/ 158410 w 590550"/>
                  <a:gd name="connsiteY12" fmla="*/ 493233 h 590550"/>
                  <a:gd name="connsiteX13" fmla="*/ 238125 w 590550"/>
                  <a:gd name="connsiteY13" fmla="*/ 514350 h 590550"/>
                  <a:gd name="connsiteX14" fmla="*/ 361474 w 590550"/>
                  <a:gd name="connsiteY14" fmla="*/ 457200 h 590550"/>
                  <a:gd name="connsiteX15" fmla="*/ 476250 w 590550"/>
                  <a:gd name="connsiteY15" fmla="*/ 457200 h 590550"/>
                  <a:gd name="connsiteX16" fmla="*/ 495300 w 590550"/>
                  <a:gd name="connsiteY16" fmla="*/ 438150 h 590550"/>
                  <a:gd name="connsiteX17" fmla="*/ 495300 w 590550"/>
                  <a:gd name="connsiteY17" fmla="*/ 419100 h 590550"/>
                  <a:gd name="connsiteX18" fmla="*/ 476250 w 590550"/>
                  <a:gd name="connsiteY18" fmla="*/ 400050 h 590550"/>
                  <a:gd name="connsiteX19" fmla="*/ 457200 w 590550"/>
                  <a:gd name="connsiteY19" fmla="*/ 400050 h 590550"/>
                  <a:gd name="connsiteX20" fmla="*/ 457200 w 590550"/>
                  <a:gd name="connsiteY20" fmla="*/ 381000 h 590550"/>
                  <a:gd name="connsiteX21" fmla="*/ 542925 w 590550"/>
                  <a:gd name="connsiteY21" fmla="*/ 381000 h 590550"/>
                  <a:gd name="connsiteX22" fmla="*/ 590550 w 590550"/>
                  <a:gd name="connsiteY22" fmla="*/ 333375 h 590550"/>
                  <a:gd name="connsiteX23" fmla="*/ 590550 w 590550"/>
                  <a:gd name="connsiteY23" fmla="*/ 47625 h 590550"/>
                  <a:gd name="connsiteX24" fmla="*/ 542925 w 590550"/>
                  <a:gd name="connsiteY24" fmla="*/ 0 h 590550"/>
                  <a:gd name="connsiteX25" fmla="*/ 104775 w 590550"/>
                  <a:gd name="connsiteY25" fmla="*/ 19050 h 590550"/>
                  <a:gd name="connsiteX26" fmla="*/ 542925 w 590550"/>
                  <a:gd name="connsiteY26" fmla="*/ 19050 h 590550"/>
                  <a:gd name="connsiteX27" fmla="*/ 571500 w 590550"/>
                  <a:gd name="connsiteY27" fmla="*/ 47625 h 590550"/>
                  <a:gd name="connsiteX28" fmla="*/ 571500 w 590550"/>
                  <a:gd name="connsiteY28" fmla="*/ 304800 h 590550"/>
                  <a:gd name="connsiteX29" fmla="*/ 552450 w 590550"/>
                  <a:gd name="connsiteY29" fmla="*/ 304800 h 590550"/>
                  <a:gd name="connsiteX30" fmla="*/ 552450 w 590550"/>
                  <a:gd name="connsiteY30" fmla="*/ 57150 h 590550"/>
                  <a:gd name="connsiteX31" fmla="*/ 533400 w 590550"/>
                  <a:gd name="connsiteY31" fmla="*/ 38100 h 590550"/>
                  <a:gd name="connsiteX32" fmla="*/ 114300 w 590550"/>
                  <a:gd name="connsiteY32" fmla="*/ 38100 h 590550"/>
                  <a:gd name="connsiteX33" fmla="*/ 95250 w 590550"/>
                  <a:gd name="connsiteY33" fmla="*/ 57150 h 590550"/>
                  <a:gd name="connsiteX34" fmla="*/ 95250 w 590550"/>
                  <a:gd name="connsiteY34" fmla="*/ 276349 h 590550"/>
                  <a:gd name="connsiteX35" fmla="*/ 90649 w 590550"/>
                  <a:gd name="connsiteY35" fmla="*/ 285750 h 590550"/>
                  <a:gd name="connsiteX36" fmla="*/ 79572 w 590550"/>
                  <a:gd name="connsiteY36" fmla="*/ 285750 h 590550"/>
                  <a:gd name="connsiteX37" fmla="*/ 76200 w 590550"/>
                  <a:gd name="connsiteY37" fmla="*/ 285750 h 590550"/>
                  <a:gd name="connsiteX38" fmla="*/ 76200 w 590550"/>
                  <a:gd name="connsiteY38" fmla="*/ 47625 h 590550"/>
                  <a:gd name="connsiteX39" fmla="*/ 104775 w 590550"/>
                  <a:gd name="connsiteY39" fmla="*/ 19050 h 590550"/>
                  <a:gd name="connsiteX40" fmla="*/ 396678 w 590550"/>
                  <a:gd name="connsiteY40" fmla="*/ 285750 h 590550"/>
                  <a:gd name="connsiteX41" fmla="*/ 390525 w 590550"/>
                  <a:gd name="connsiteY41" fmla="*/ 285750 h 590550"/>
                  <a:gd name="connsiteX42" fmla="*/ 385601 w 590550"/>
                  <a:gd name="connsiteY42" fmla="*/ 285750 h 590550"/>
                  <a:gd name="connsiteX43" fmla="*/ 325155 w 590550"/>
                  <a:gd name="connsiteY43" fmla="*/ 215817 h 590550"/>
                  <a:gd name="connsiteX44" fmla="*/ 341738 w 590550"/>
                  <a:gd name="connsiteY44" fmla="*/ 205121 h 590550"/>
                  <a:gd name="connsiteX45" fmla="*/ 345253 w 590550"/>
                  <a:gd name="connsiteY45" fmla="*/ 201606 h 590550"/>
                  <a:gd name="connsiteX46" fmla="*/ 371475 w 590550"/>
                  <a:gd name="connsiteY46" fmla="*/ 209550 h 590550"/>
                  <a:gd name="connsiteX47" fmla="*/ 381000 w 590550"/>
                  <a:gd name="connsiteY47" fmla="*/ 209550 h 590550"/>
                  <a:gd name="connsiteX48" fmla="*/ 381000 w 590550"/>
                  <a:gd name="connsiteY48" fmla="*/ 228600 h 590550"/>
                  <a:gd name="connsiteX49" fmla="*/ 361950 w 590550"/>
                  <a:gd name="connsiteY49" fmla="*/ 228600 h 590550"/>
                  <a:gd name="connsiteX50" fmla="*/ 361950 w 590550"/>
                  <a:gd name="connsiteY50" fmla="*/ 247650 h 590550"/>
                  <a:gd name="connsiteX51" fmla="*/ 381000 w 590550"/>
                  <a:gd name="connsiteY51" fmla="*/ 247650 h 590550"/>
                  <a:gd name="connsiteX52" fmla="*/ 400050 w 590550"/>
                  <a:gd name="connsiteY52" fmla="*/ 228600 h 590550"/>
                  <a:gd name="connsiteX53" fmla="*/ 400050 w 590550"/>
                  <a:gd name="connsiteY53" fmla="*/ 209550 h 590550"/>
                  <a:gd name="connsiteX54" fmla="*/ 419100 w 590550"/>
                  <a:gd name="connsiteY54" fmla="*/ 209550 h 590550"/>
                  <a:gd name="connsiteX55" fmla="*/ 419100 w 590550"/>
                  <a:gd name="connsiteY55" fmla="*/ 247650 h 590550"/>
                  <a:gd name="connsiteX56" fmla="*/ 438150 w 590550"/>
                  <a:gd name="connsiteY56" fmla="*/ 247650 h 590550"/>
                  <a:gd name="connsiteX57" fmla="*/ 438150 w 590550"/>
                  <a:gd name="connsiteY57" fmla="*/ 209550 h 590550"/>
                  <a:gd name="connsiteX58" fmla="*/ 457200 w 590550"/>
                  <a:gd name="connsiteY58" fmla="*/ 209550 h 590550"/>
                  <a:gd name="connsiteX59" fmla="*/ 457200 w 590550"/>
                  <a:gd name="connsiteY59" fmla="*/ 228600 h 590550"/>
                  <a:gd name="connsiteX60" fmla="*/ 476250 w 590550"/>
                  <a:gd name="connsiteY60" fmla="*/ 247650 h 590550"/>
                  <a:gd name="connsiteX61" fmla="*/ 495300 w 590550"/>
                  <a:gd name="connsiteY61" fmla="*/ 247650 h 590550"/>
                  <a:gd name="connsiteX62" fmla="*/ 495300 w 590550"/>
                  <a:gd name="connsiteY62" fmla="*/ 228600 h 590550"/>
                  <a:gd name="connsiteX63" fmla="*/ 476250 w 590550"/>
                  <a:gd name="connsiteY63" fmla="*/ 228600 h 590550"/>
                  <a:gd name="connsiteX64" fmla="*/ 476250 w 590550"/>
                  <a:gd name="connsiteY64" fmla="*/ 208588 h 590550"/>
                  <a:gd name="connsiteX65" fmla="*/ 514350 w 590550"/>
                  <a:gd name="connsiteY65" fmla="*/ 161925 h 590550"/>
                  <a:gd name="connsiteX66" fmla="*/ 476250 w 590550"/>
                  <a:gd name="connsiteY66" fmla="*/ 115262 h 590550"/>
                  <a:gd name="connsiteX67" fmla="*/ 476250 w 590550"/>
                  <a:gd name="connsiteY67" fmla="*/ 95250 h 590550"/>
                  <a:gd name="connsiteX68" fmla="*/ 495300 w 590550"/>
                  <a:gd name="connsiteY68" fmla="*/ 95250 h 590550"/>
                  <a:gd name="connsiteX69" fmla="*/ 495300 w 590550"/>
                  <a:gd name="connsiteY69" fmla="*/ 76200 h 590550"/>
                  <a:gd name="connsiteX70" fmla="*/ 476250 w 590550"/>
                  <a:gd name="connsiteY70" fmla="*/ 76200 h 590550"/>
                  <a:gd name="connsiteX71" fmla="*/ 457200 w 590550"/>
                  <a:gd name="connsiteY71" fmla="*/ 95250 h 590550"/>
                  <a:gd name="connsiteX72" fmla="*/ 457200 w 590550"/>
                  <a:gd name="connsiteY72" fmla="*/ 114300 h 590550"/>
                  <a:gd name="connsiteX73" fmla="*/ 438150 w 590550"/>
                  <a:gd name="connsiteY73" fmla="*/ 114300 h 590550"/>
                  <a:gd name="connsiteX74" fmla="*/ 438150 w 590550"/>
                  <a:gd name="connsiteY74" fmla="*/ 76200 h 590550"/>
                  <a:gd name="connsiteX75" fmla="*/ 419100 w 590550"/>
                  <a:gd name="connsiteY75" fmla="*/ 76200 h 590550"/>
                  <a:gd name="connsiteX76" fmla="*/ 419100 w 590550"/>
                  <a:gd name="connsiteY76" fmla="*/ 114300 h 590550"/>
                  <a:gd name="connsiteX77" fmla="*/ 400050 w 590550"/>
                  <a:gd name="connsiteY77" fmla="*/ 114300 h 590550"/>
                  <a:gd name="connsiteX78" fmla="*/ 400050 w 590550"/>
                  <a:gd name="connsiteY78" fmla="*/ 95250 h 590550"/>
                  <a:gd name="connsiteX79" fmla="*/ 381000 w 590550"/>
                  <a:gd name="connsiteY79" fmla="*/ 76200 h 590550"/>
                  <a:gd name="connsiteX80" fmla="*/ 361950 w 590550"/>
                  <a:gd name="connsiteY80" fmla="*/ 76200 h 590550"/>
                  <a:gd name="connsiteX81" fmla="*/ 361950 w 590550"/>
                  <a:gd name="connsiteY81" fmla="*/ 95250 h 590550"/>
                  <a:gd name="connsiteX82" fmla="*/ 381000 w 590550"/>
                  <a:gd name="connsiteY82" fmla="*/ 95250 h 590550"/>
                  <a:gd name="connsiteX83" fmla="*/ 381000 w 590550"/>
                  <a:gd name="connsiteY83" fmla="*/ 114300 h 590550"/>
                  <a:gd name="connsiteX84" fmla="*/ 371475 w 590550"/>
                  <a:gd name="connsiteY84" fmla="*/ 114300 h 590550"/>
                  <a:gd name="connsiteX85" fmla="*/ 345253 w 590550"/>
                  <a:gd name="connsiteY85" fmla="*/ 122234 h 590550"/>
                  <a:gd name="connsiteX86" fmla="*/ 341738 w 590550"/>
                  <a:gd name="connsiteY86" fmla="*/ 118720 h 590550"/>
                  <a:gd name="connsiteX87" fmla="*/ 308067 w 590550"/>
                  <a:gd name="connsiteY87" fmla="*/ 104775 h 590550"/>
                  <a:gd name="connsiteX88" fmla="*/ 285750 w 590550"/>
                  <a:gd name="connsiteY88" fmla="*/ 104775 h 590550"/>
                  <a:gd name="connsiteX89" fmla="*/ 285750 w 590550"/>
                  <a:gd name="connsiteY89" fmla="*/ 123825 h 590550"/>
                  <a:gd name="connsiteX90" fmla="*/ 308067 w 590550"/>
                  <a:gd name="connsiteY90" fmla="*/ 123825 h 590550"/>
                  <a:gd name="connsiteX91" fmla="*/ 328270 w 590550"/>
                  <a:gd name="connsiteY91" fmla="*/ 132188 h 590550"/>
                  <a:gd name="connsiteX92" fmla="*/ 331784 w 590550"/>
                  <a:gd name="connsiteY92" fmla="*/ 135703 h 590550"/>
                  <a:gd name="connsiteX93" fmla="*/ 323850 w 590550"/>
                  <a:gd name="connsiteY93" fmla="*/ 161925 h 590550"/>
                  <a:gd name="connsiteX94" fmla="*/ 331784 w 590550"/>
                  <a:gd name="connsiteY94" fmla="*/ 188147 h 590550"/>
                  <a:gd name="connsiteX95" fmla="*/ 328270 w 590550"/>
                  <a:gd name="connsiteY95" fmla="*/ 191662 h 590550"/>
                  <a:gd name="connsiteX96" fmla="*/ 308067 w 590550"/>
                  <a:gd name="connsiteY96" fmla="*/ 200025 h 590550"/>
                  <a:gd name="connsiteX97" fmla="*/ 292837 w 590550"/>
                  <a:gd name="connsiteY97" fmla="*/ 200025 h 590550"/>
                  <a:gd name="connsiteX98" fmla="*/ 238125 w 590550"/>
                  <a:gd name="connsiteY98" fmla="*/ 190500 h 590550"/>
                  <a:gd name="connsiteX99" fmla="*/ 114300 w 590550"/>
                  <a:gd name="connsiteY99" fmla="*/ 248021 h 590550"/>
                  <a:gd name="connsiteX100" fmla="*/ 114300 w 590550"/>
                  <a:gd name="connsiteY100" fmla="*/ 57150 h 590550"/>
                  <a:gd name="connsiteX101" fmla="*/ 533400 w 590550"/>
                  <a:gd name="connsiteY101" fmla="*/ 57150 h 590550"/>
                  <a:gd name="connsiteX102" fmla="*/ 533400 w 590550"/>
                  <a:gd name="connsiteY102" fmla="*/ 304800 h 590550"/>
                  <a:gd name="connsiteX103" fmla="*/ 431463 w 590550"/>
                  <a:gd name="connsiteY103" fmla="*/ 304800 h 590550"/>
                  <a:gd name="connsiteX104" fmla="*/ 396678 w 590550"/>
                  <a:gd name="connsiteY104" fmla="*/ 285750 h 590550"/>
                  <a:gd name="connsiteX105" fmla="*/ 342414 w 590550"/>
                  <a:gd name="connsiteY105" fmla="*/ 285750 h 590550"/>
                  <a:gd name="connsiteX106" fmla="*/ 238125 w 590550"/>
                  <a:gd name="connsiteY106" fmla="*/ 228600 h 590550"/>
                  <a:gd name="connsiteX107" fmla="*/ 133836 w 590550"/>
                  <a:gd name="connsiteY107" fmla="*/ 285750 h 590550"/>
                  <a:gd name="connsiteX108" fmla="*/ 111804 w 590550"/>
                  <a:gd name="connsiteY108" fmla="*/ 285750 h 590550"/>
                  <a:gd name="connsiteX109" fmla="*/ 238125 w 590550"/>
                  <a:gd name="connsiteY109" fmla="*/ 209550 h 590550"/>
                  <a:gd name="connsiteX110" fmla="*/ 364446 w 590550"/>
                  <a:gd name="connsiteY110" fmla="*/ 285750 h 590550"/>
                  <a:gd name="connsiteX111" fmla="*/ 342414 w 590550"/>
                  <a:gd name="connsiteY111" fmla="*/ 285750 h 590550"/>
                  <a:gd name="connsiteX112" fmla="*/ 318707 w 590550"/>
                  <a:gd name="connsiteY112" fmla="*/ 285750 h 590550"/>
                  <a:gd name="connsiteX113" fmla="*/ 157544 w 590550"/>
                  <a:gd name="connsiteY113" fmla="*/ 285750 h 590550"/>
                  <a:gd name="connsiteX114" fmla="*/ 238125 w 590550"/>
                  <a:gd name="connsiteY114" fmla="*/ 247650 h 590550"/>
                  <a:gd name="connsiteX115" fmla="*/ 318707 w 590550"/>
                  <a:gd name="connsiteY115" fmla="*/ 285750 h 590550"/>
                  <a:gd name="connsiteX116" fmla="*/ 466725 w 590550"/>
                  <a:gd name="connsiteY116" fmla="*/ 133350 h 590550"/>
                  <a:gd name="connsiteX117" fmla="*/ 493547 w 590550"/>
                  <a:gd name="connsiteY117" fmla="*/ 152400 h 590550"/>
                  <a:gd name="connsiteX118" fmla="*/ 405936 w 590550"/>
                  <a:gd name="connsiteY118" fmla="*/ 152400 h 590550"/>
                  <a:gd name="connsiteX119" fmla="*/ 396411 w 590550"/>
                  <a:gd name="connsiteY119" fmla="*/ 133350 h 590550"/>
                  <a:gd name="connsiteX120" fmla="*/ 466725 w 590550"/>
                  <a:gd name="connsiteY120" fmla="*/ 133350 h 590550"/>
                  <a:gd name="connsiteX121" fmla="*/ 466725 w 590550"/>
                  <a:gd name="connsiteY121" fmla="*/ 190500 h 590550"/>
                  <a:gd name="connsiteX122" fmla="*/ 396411 w 590550"/>
                  <a:gd name="connsiteY122" fmla="*/ 190500 h 590550"/>
                  <a:gd name="connsiteX123" fmla="*/ 405936 w 590550"/>
                  <a:gd name="connsiteY123" fmla="*/ 171450 h 590550"/>
                  <a:gd name="connsiteX124" fmla="*/ 493547 w 590550"/>
                  <a:gd name="connsiteY124" fmla="*/ 171450 h 590550"/>
                  <a:gd name="connsiteX125" fmla="*/ 466725 w 590550"/>
                  <a:gd name="connsiteY125" fmla="*/ 190500 h 590550"/>
                  <a:gd name="connsiteX126" fmla="*/ 375114 w 590550"/>
                  <a:gd name="connsiteY126" fmla="*/ 133350 h 590550"/>
                  <a:gd name="connsiteX127" fmla="*/ 389401 w 590550"/>
                  <a:gd name="connsiteY127" fmla="*/ 161925 h 590550"/>
                  <a:gd name="connsiteX128" fmla="*/ 375114 w 590550"/>
                  <a:gd name="connsiteY128" fmla="*/ 190500 h 590550"/>
                  <a:gd name="connsiteX129" fmla="*/ 371475 w 590550"/>
                  <a:gd name="connsiteY129" fmla="*/ 190500 h 590550"/>
                  <a:gd name="connsiteX130" fmla="*/ 342900 w 590550"/>
                  <a:gd name="connsiteY130" fmla="*/ 161925 h 590550"/>
                  <a:gd name="connsiteX131" fmla="*/ 371475 w 590550"/>
                  <a:gd name="connsiteY131" fmla="*/ 133350 h 590550"/>
                  <a:gd name="connsiteX132" fmla="*/ 375114 w 590550"/>
                  <a:gd name="connsiteY132" fmla="*/ 133350 h 590550"/>
                  <a:gd name="connsiteX133" fmla="*/ 84992 w 590550"/>
                  <a:gd name="connsiteY133" fmla="*/ 401136 h 590550"/>
                  <a:gd name="connsiteX134" fmla="*/ 58760 w 590550"/>
                  <a:gd name="connsiteY134" fmla="*/ 335556 h 590550"/>
                  <a:gd name="connsiteX135" fmla="*/ 57150 w 590550"/>
                  <a:gd name="connsiteY135" fmla="*/ 327222 h 590550"/>
                  <a:gd name="connsiteX136" fmla="*/ 79572 w 590550"/>
                  <a:gd name="connsiteY136" fmla="*/ 304800 h 590550"/>
                  <a:gd name="connsiteX137" fmla="*/ 390525 w 590550"/>
                  <a:gd name="connsiteY137" fmla="*/ 304800 h 590550"/>
                  <a:gd name="connsiteX138" fmla="*/ 396678 w 590550"/>
                  <a:gd name="connsiteY138" fmla="*/ 304800 h 590550"/>
                  <a:gd name="connsiteX139" fmla="*/ 419100 w 590550"/>
                  <a:gd name="connsiteY139" fmla="*/ 327222 h 590550"/>
                  <a:gd name="connsiteX140" fmla="*/ 417500 w 590550"/>
                  <a:gd name="connsiteY140" fmla="*/ 335547 h 590550"/>
                  <a:gd name="connsiteX141" fmla="*/ 391268 w 590550"/>
                  <a:gd name="connsiteY141" fmla="*/ 401136 h 590550"/>
                  <a:gd name="connsiteX142" fmla="*/ 364731 w 590550"/>
                  <a:gd name="connsiteY142" fmla="*/ 419100 h 590550"/>
                  <a:gd name="connsiteX143" fmla="*/ 309296 w 590550"/>
                  <a:gd name="connsiteY143" fmla="*/ 419100 h 590550"/>
                  <a:gd name="connsiteX144" fmla="*/ 283740 w 590550"/>
                  <a:gd name="connsiteY144" fmla="*/ 403308 h 590550"/>
                  <a:gd name="connsiteX145" fmla="*/ 274215 w 590550"/>
                  <a:gd name="connsiteY145" fmla="*/ 384258 h 590550"/>
                  <a:gd name="connsiteX146" fmla="*/ 238125 w 590550"/>
                  <a:gd name="connsiteY146" fmla="*/ 361950 h 590550"/>
                  <a:gd name="connsiteX147" fmla="*/ 202035 w 590550"/>
                  <a:gd name="connsiteY147" fmla="*/ 384258 h 590550"/>
                  <a:gd name="connsiteX148" fmla="*/ 192510 w 590550"/>
                  <a:gd name="connsiteY148" fmla="*/ 403308 h 590550"/>
                  <a:gd name="connsiteX149" fmla="*/ 166954 w 590550"/>
                  <a:gd name="connsiteY149" fmla="*/ 419100 h 590550"/>
                  <a:gd name="connsiteX150" fmla="*/ 111519 w 590550"/>
                  <a:gd name="connsiteY150" fmla="*/ 419100 h 590550"/>
                  <a:gd name="connsiteX151" fmla="*/ 84992 w 590550"/>
                  <a:gd name="connsiteY151" fmla="*/ 401136 h 590550"/>
                  <a:gd name="connsiteX152" fmla="*/ 299809 w 590550"/>
                  <a:gd name="connsiteY152" fmla="*/ 437093 h 590550"/>
                  <a:gd name="connsiteX153" fmla="*/ 238125 w 590550"/>
                  <a:gd name="connsiteY153" fmla="*/ 457200 h 590550"/>
                  <a:gd name="connsiteX154" fmla="*/ 176432 w 590550"/>
                  <a:gd name="connsiteY154" fmla="*/ 437102 h 590550"/>
                  <a:gd name="connsiteX155" fmla="*/ 209550 w 590550"/>
                  <a:gd name="connsiteY155" fmla="*/ 411832 h 590550"/>
                  <a:gd name="connsiteX156" fmla="*/ 219075 w 590550"/>
                  <a:gd name="connsiteY156" fmla="*/ 392782 h 590550"/>
                  <a:gd name="connsiteX157" fmla="*/ 238125 w 590550"/>
                  <a:gd name="connsiteY157" fmla="*/ 381000 h 590550"/>
                  <a:gd name="connsiteX158" fmla="*/ 257175 w 590550"/>
                  <a:gd name="connsiteY158" fmla="*/ 392773 h 590550"/>
                  <a:gd name="connsiteX159" fmla="*/ 266700 w 590550"/>
                  <a:gd name="connsiteY159" fmla="*/ 411823 h 590550"/>
                  <a:gd name="connsiteX160" fmla="*/ 299809 w 590550"/>
                  <a:gd name="connsiteY160" fmla="*/ 437093 h 590550"/>
                  <a:gd name="connsiteX161" fmla="*/ 60284 w 590550"/>
                  <a:gd name="connsiteY161" fmla="*/ 564423 h 590550"/>
                  <a:gd name="connsiteX162" fmla="*/ 43205 w 590550"/>
                  <a:gd name="connsiteY162" fmla="*/ 571500 h 590550"/>
                  <a:gd name="connsiteX163" fmla="*/ 19050 w 590550"/>
                  <a:gd name="connsiteY163" fmla="*/ 547345 h 590550"/>
                  <a:gd name="connsiteX164" fmla="*/ 26127 w 590550"/>
                  <a:gd name="connsiteY164" fmla="*/ 530266 h 590550"/>
                  <a:gd name="connsiteX165" fmla="*/ 107880 w 590550"/>
                  <a:gd name="connsiteY165" fmla="*/ 448513 h 590550"/>
                  <a:gd name="connsiteX166" fmla="*/ 142084 w 590550"/>
                  <a:gd name="connsiteY166" fmla="*/ 482622 h 590550"/>
                  <a:gd name="connsiteX167" fmla="*/ 60284 w 590550"/>
                  <a:gd name="connsiteY167" fmla="*/ 564423 h 590550"/>
                  <a:gd name="connsiteX168" fmla="*/ 238125 w 590550"/>
                  <a:gd name="connsiteY168" fmla="*/ 495300 h 590550"/>
                  <a:gd name="connsiteX169" fmla="*/ 123873 w 590550"/>
                  <a:gd name="connsiteY169" fmla="*/ 438150 h 590550"/>
                  <a:gd name="connsiteX170" fmla="*/ 149000 w 590550"/>
                  <a:gd name="connsiteY170" fmla="*/ 438150 h 590550"/>
                  <a:gd name="connsiteX171" fmla="*/ 238135 w 590550"/>
                  <a:gd name="connsiteY171" fmla="*/ 476250 h 590550"/>
                  <a:gd name="connsiteX172" fmla="*/ 327260 w 590550"/>
                  <a:gd name="connsiteY172" fmla="*/ 438150 h 590550"/>
                  <a:gd name="connsiteX173" fmla="*/ 352368 w 590550"/>
                  <a:gd name="connsiteY173" fmla="*/ 438150 h 590550"/>
                  <a:gd name="connsiteX174" fmla="*/ 238125 w 590550"/>
                  <a:gd name="connsiteY174" fmla="*/ 495300 h 590550"/>
                  <a:gd name="connsiteX175" fmla="*/ 476250 w 590550"/>
                  <a:gd name="connsiteY175" fmla="*/ 438150 h 590550"/>
                  <a:gd name="connsiteX176" fmla="*/ 375418 w 590550"/>
                  <a:gd name="connsiteY176" fmla="*/ 438150 h 590550"/>
                  <a:gd name="connsiteX177" fmla="*/ 376390 w 590550"/>
                  <a:gd name="connsiteY177" fmla="*/ 436597 h 590550"/>
                  <a:gd name="connsiteX178" fmla="*/ 402746 w 590550"/>
                  <a:gd name="connsiteY178" fmla="*/ 419100 h 590550"/>
                  <a:gd name="connsiteX179" fmla="*/ 476250 w 590550"/>
                  <a:gd name="connsiteY179" fmla="*/ 419100 h 590550"/>
                  <a:gd name="connsiteX180" fmla="*/ 476250 w 590550"/>
                  <a:gd name="connsiteY180" fmla="*/ 438150 h 590550"/>
                  <a:gd name="connsiteX181" fmla="*/ 438150 w 590550"/>
                  <a:gd name="connsiteY181" fmla="*/ 400050 h 590550"/>
                  <a:gd name="connsiteX182" fmla="*/ 412213 w 590550"/>
                  <a:gd name="connsiteY182" fmla="*/ 400050 h 590550"/>
                  <a:gd name="connsiteX183" fmla="*/ 419833 w 590550"/>
                  <a:gd name="connsiteY183" fmla="*/ 381000 h 590550"/>
                  <a:gd name="connsiteX184" fmla="*/ 438150 w 590550"/>
                  <a:gd name="connsiteY184" fmla="*/ 381000 h 590550"/>
                  <a:gd name="connsiteX185" fmla="*/ 438150 w 590550"/>
                  <a:gd name="connsiteY185" fmla="*/ 400050 h 590550"/>
                  <a:gd name="connsiteX186" fmla="*/ 542925 w 590550"/>
                  <a:gd name="connsiteY186" fmla="*/ 361950 h 590550"/>
                  <a:gd name="connsiteX187" fmla="*/ 427453 w 590550"/>
                  <a:gd name="connsiteY187" fmla="*/ 361950 h 590550"/>
                  <a:gd name="connsiteX188" fmla="*/ 435188 w 590550"/>
                  <a:gd name="connsiteY188" fmla="*/ 342624 h 590550"/>
                  <a:gd name="connsiteX189" fmla="*/ 438150 w 590550"/>
                  <a:gd name="connsiteY189" fmla="*/ 327222 h 590550"/>
                  <a:gd name="connsiteX190" fmla="*/ 437807 w 590550"/>
                  <a:gd name="connsiteY190" fmla="*/ 323850 h 590550"/>
                  <a:gd name="connsiteX191" fmla="*/ 571500 w 590550"/>
                  <a:gd name="connsiteY191" fmla="*/ 323850 h 590550"/>
                  <a:gd name="connsiteX192" fmla="*/ 571500 w 590550"/>
                  <a:gd name="connsiteY192" fmla="*/ 333375 h 590550"/>
                  <a:gd name="connsiteX193" fmla="*/ 542925 w 590550"/>
                  <a:gd name="connsiteY193" fmla="*/ 361950 h 59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</a:cxnLst>
                <a:rect l="l" t="t" r="r" b="b"/>
                <a:pathLst>
                  <a:path w="590550" h="590550">
                    <a:moveTo>
                      <a:pt x="542925" y="0"/>
                    </a:moveTo>
                    <a:lnTo>
                      <a:pt x="104775" y="0"/>
                    </a:lnTo>
                    <a:cubicBezTo>
                      <a:pt x="78515" y="0"/>
                      <a:pt x="57150" y="21365"/>
                      <a:pt x="57150" y="47625"/>
                    </a:cubicBezTo>
                    <a:lnTo>
                      <a:pt x="57150" y="292437"/>
                    </a:lnTo>
                    <a:cubicBezTo>
                      <a:pt x="45720" y="299828"/>
                      <a:pt x="38100" y="312630"/>
                      <a:pt x="38100" y="327222"/>
                    </a:cubicBezTo>
                    <a:cubicBezTo>
                      <a:pt x="38100" y="332518"/>
                      <a:pt x="39091" y="337699"/>
                      <a:pt x="41062" y="342624"/>
                    </a:cubicBezTo>
                    <a:lnTo>
                      <a:pt x="67294" y="408203"/>
                    </a:lnTo>
                    <a:cubicBezTo>
                      <a:pt x="72352" y="420862"/>
                      <a:pt x="82353" y="430282"/>
                      <a:pt x="94536" y="434921"/>
                    </a:cubicBezTo>
                    <a:lnTo>
                      <a:pt x="12659" y="516798"/>
                    </a:lnTo>
                    <a:cubicBezTo>
                      <a:pt x="4496" y="524961"/>
                      <a:pt x="0" y="535810"/>
                      <a:pt x="0" y="547345"/>
                    </a:cubicBezTo>
                    <a:cubicBezTo>
                      <a:pt x="0" y="571167"/>
                      <a:pt x="19383" y="590550"/>
                      <a:pt x="43205" y="590550"/>
                    </a:cubicBezTo>
                    <a:cubicBezTo>
                      <a:pt x="54740" y="590550"/>
                      <a:pt x="65599" y="586054"/>
                      <a:pt x="73752" y="577891"/>
                    </a:cubicBezTo>
                    <a:lnTo>
                      <a:pt x="158410" y="493233"/>
                    </a:lnTo>
                    <a:cubicBezTo>
                      <a:pt x="182375" y="506806"/>
                      <a:pt x="209760" y="514350"/>
                      <a:pt x="238125" y="514350"/>
                    </a:cubicBezTo>
                    <a:cubicBezTo>
                      <a:pt x="285921" y="514350"/>
                      <a:pt x="330984" y="492966"/>
                      <a:pt x="361474" y="457200"/>
                    </a:cubicBezTo>
                    <a:lnTo>
                      <a:pt x="476250" y="457200"/>
                    </a:lnTo>
                    <a:cubicBezTo>
                      <a:pt x="486756" y="457200"/>
                      <a:pt x="495300" y="448656"/>
                      <a:pt x="495300" y="438150"/>
                    </a:cubicBezTo>
                    <a:lnTo>
                      <a:pt x="495300" y="419100"/>
                    </a:lnTo>
                    <a:cubicBezTo>
                      <a:pt x="495300" y="408594"/>
                      <a:pt x="486756" y="400050"/>
                      <a:pt x="476250" y="400050"/>
                    </a:cubicBezTo>
                    <a:lnTo>
                      <a:pt x="457200" y="400050"/>
                    </a:lnTo>
                    <a:lnTo>
                      <a:pt x="457200" y="381000"/>
                    </a:lnTo>
                    <a:lnTo>
                      <a:pt x="542925" y="381000"/>
                    </a:lnTo>
                    <a:cubicBezTo>
                      <a:pt x="569185" y="381000"/>
                      <a:pt x="590550" y="359635"/>
                      <a:pt x="590550" y="333375"/>
                    </a:cubicBezTo>
                    <a:lnTo>
                      <a:pt x="590550" y="47625"/>
                    </a:lnTo>
                    <a:cubicBezTo>
                      <a:pt x="590550" y="21365"/>
                      <a:pt x="569185" y="0"/>
                      <a:pt x="542925" y="0"/>
                    </a:cubicBezTo>
                    <a:close/>
                    <a:moveTo>
                      <a:pt x="104775" y="19050"/>
                    </a:moveTo>
                    <a:lnTo>
                      <a:pt x="542925" y="19050"/>
                    </a:lnTo>
                    <a:cubicBezTo>
                      <a:pt x="558679" y="19050"/>
                      <a:pt x="571500" y="31871"/>
                      <a:pt x="571500" y="47625"/>
                    </a:cubicBezTo>
                    <a:lnTo>
                      <a:pt x="571500" y="304800"/>
                    </a:lnTo>
                    <a:lnTo>
                      <a:pt x="552450" y="304800"/>
                    </a:lnTo>
                    <a:lnTo>
                      <a:pt x="552450" y="57150"/>
                    </a:lnTo>
                    <a:cubicBezTo>
                      <a:pt x="552450" y="46644"/>
                      <a:pt x="543906" y="38100"/>
                      <a:pt x="533400" y="38100"/>
                    </a:cubicBezTo>
                    <a:lnTo>
                      <a:pt x="114300" y="38100"/>
                    </a:lnTo>
                    <a:cubicBezTo>
                      <a:pt x="103794" y="38100"/>
                      <a:pt x="95250" y="46644"/>
                      <a:pt x="95250" y="57150"/>
                    </a:cubicBezTo>
                    <a:lnTo>
                      <a:pt x="95250" y="276349"/>
                    </a:lnTo>
                    <a:cubicBezTo>
                      <a:pt x="93621" y="279416"/>
                      <a:pt x="92097" y="282550"/>
                      <a:pt x="90649" y="285750"/>
                    </a:cubicBezTo>
                    <a:lnTo>
                      <a:pt x="79572" y="285750"/>
                    </a:lnTo>
                    <a:lnTo>
                      <a:pt x="76200" y="285750"/>
                    </a:lnTo>
                    <a:lnTo>
                      <a:pt x="76200" y="47625"/>
                    </a:lnTo>
                    <a:cubicBezTo>
                      <a:pt x="76200" y="31871"/>
                      <a:pt x="89021" y="19050"/>
                      <a:pt x="104775" y="19050"/>
                    </a:cubicBezTo>
                    <a:close/>
                    <a:moveTo>
                      <a:pt x="396678" y="285750"/>
                    </a:moveTo>
                    <a:lnTo>
                      <a:pt x="390525" y="285750"/>
                    </a:lnTo>
                    <a:lnTo>
                      <a:pt x="385601" y="285750"/>
                    </a:lnTo>
                    <a:cubicBezTo>
                      <a:pt x="372332" y="256384"/>
                      <a:pt x="351177" y="232381"/>
                      <a:pt x="325155" y="215817"/>
                    </a:cubicBezTo>
                    <a:cubicBezTo>
                      <a:pt x="331289" y="213455"/>
                      <a:pt x="336947" y="209912"/>
                      <a:pt x="341738" y="205121"/>
                    </a:cubicBezTo>
                    <a:lnTo>
                      <a:pt x="345253" y="201606"/>
                    </a:lnTo>
                    <a:cubicBezTo>
                      <a:pt x="352787" y="206607"/>
                      <a:pt x="361788" y="209550"/>
                      <a:pt x="371475" y="209550"/>
                    </a:cubicBezTo>
                    <a:lnTo>
                      <a:pt x="381000" y="209550"/>
                    </a:lnTo>
                    <a:lnTo>
                      <a:pt x="381000" y="228600"/>
                    </a:lnTo>
                    <a:lnTo>
                      <a:pt x="361950" y="228600"/>
                    </a:lnTo>
                    <a:lnTo>
                      <a:pt x="361950" y="247650"/>
                    </a:lnTo>
                    <a:lnTo>
                      <a:pt x="381000" y="247650"/>
                    </a:lnTo>
                    <a:cubicBezTo>
                      <a:pt x="391506" y="247650"/>
                      <a:pt x="400050" y="239106"/>
                      <a:pt x="400050" y="228600"/>
                    </a:cubicBezTo>
                    <a:lnTo>
                      <a:pt x="400050" y="209550"/>
                    </a:lnTo>
                    <a:lnTo>
                      <a:pt x="419100" y="209550"/>
                    </a:lnTo>
                    <a:lnTo>
                      <a:pt x="419100" y="247650"/>
                    </a:lnTo>
                    <a:lnTo>
                      <a:pt x="438150" y="247650"/>
                    </a:lnTo>
                    <a:lnTo>
                      <a:pt x="438150" y="209550"/>
                    </a:lnTo>
                    <a:lnTo>
                      <a:pt x="457200" y="209550"/>
                    </a:lnTo>
                    <a:lnTo>
                      <a:pt x="457200" y="228600"/>
                    </a:lnTo>
                    <a:cubicBezTo>
                      <a:pt x="457200" y="239106"/>
                      <a:pt x="465744" y="247650"/>
                      <a:pt x="476250" y="247650"/>
                    </a:cubicBezTo>
                    <a:lnTo>
                      <a:pt x="495300" y="247650"/>
                    </a:lnTo>
                    <a:lnTo>
                      <a:pt x="495300" y="228600"/>
                    </a:lnTo>
                    <a:lnTo>
                      <a:pt x="476250" y="228600"/>
                    </a:lnTo>
                    <a:lnTo>
                      <a:pt x="476250" y="208588"/>
                    </a:lnTo>
                    <a:cubicBezTo>
                      <a:pt x="497957" y="204159"/>
                      <a:pt x="514350" y="184928"/>
                      <a:pt x="514350" y="161925"/>
                    </a:cubicBezTo>
                    <a:cubicBezTo>
                      <a:pt x="514350" y="138922"/>
                      <a:pt x="497957" y="119691"/>
                      <a:pt x="476250" y="115262"/>
                    </a:cubicBezTo>
                    <a:lnTo>
                      <a:pt x="476250" y="95250"/>
                    </a:lnTo>
                    <a:lnTo>
                      <a:pt x="495300" y="95250"/>
                    </a:lnTo>
                    <a:lnTo>
                      <a:pt x="495300" y="76200"/>
                    </a:lnTo>
                    <a:lnTo>
                      <a:pt x="476250" y="76200"/>
                    </a:lnTo>
                    <a:cubicBezTo>
                      <a:pt x="465744" y="76200"/>
                      <a:pt x="457200" y="84744"/>
                      <a:pt x="457200" y="95250"/>
                    </a:cubicBezTo>
                    <a:lnTo>
                      <a:pt x="457200" y="114300"/>
                    </a:lnTo>
                    <a:lnTo>
                      <a:pt x="438150" y="114300"/>
                    </a:lnTo>
                    <a:lnTo>
                      <a:pt x="438150" y="76200"/>
                    </a:lnTo>
                    <a:lnTo>
                      <a:pt x="419100" y="76200"/>
                    </a:lnTo>
                    <a:lnTo>
                      <a:pt x="419100" y="114300"/>
                    </a:lnTo>
                    <a:lnTo>
                      <a:pt x="400050" y="114300"/>
                    </a:lnTo>
                    <a:lnTo>
                      <a:pt x="400050" y="95250"/>
                    </a:lnTo>
                    <a:cubicBezTo>
                      <a:pt x="400050" y="84744"/>
                      <a:pt x="391506" y="76200"/>
                      <a:pt x="381000" y="76200"/>
                    </a:cubicBezTo>
                    <a:lnTo>
                      <a:pt x="361950" y="76200"/>
                    </a:lnTo>
                    <a:lnTo>
                      <a:pt x="361950" y="95250"/>
                    </a:lnTo>
                    <a:lnTo>
                      <a:pt x="381000" y="95250"/>
                    </a:lnTo>
                    <a:lnTo>
                      <a:pt x="381000" y="114300"/>
                    </a:lnTo>
                    <a:lnTo>
                      <a:pt x="371475" y="114300"/>
                    </a:lnTo>
                    <a:cubicBezTo>
                      <a:pt x="361788" y="114300"/>
                      <a:pt x="352787" y="117243"/>
                      <a:pt x="345253" y="122234"/>
                    </a:cubicBezTo>
                    <a:lnTo>
                      <a:pt x="341738" y="118720"/>
                    </a:lnTo>
                    <a:cubicBezTo>
                      <a:pt x="332746" y="109728"/>
                      <a:pt x="320792" y="104775"/>
                      <a:pt x="308067" y="104775"/>
                    </a:cubicBezTo>
                    <a:lnTo>
                      <a:pt x="285750" y="104775"/>
                    </a:lnTo>
                    <a:lnTo>
                      <a:pt x="285750" y="123825"/>
                    </a:lnTo>
                    <a:lnTo>
                      <a:pt x="308067" y="123825"/>
                    </a:lnTo>
                    <a:cubicBezTo>
                      <a:pt x="315592" y="123825"/>
                      <a:pt x="322945" y="126873"/>
                      <a:pt x="328270" y="132188"/>
                    </a:cubicBezTo>
                    <a:lnTo>
                      <a:pt x="331784" y="135703"/>
                    </a:lnTo>
                    <a:cubicBezTo>
                      <a:pt x="326793" y="143237"/>
                      <a:pt x="323850" y="152238"/>
                      <a:pt x="323850" y="161925"/>
                    </a:cubicBezTo>
                    <a:cubicBezTo>
                      <a:pt x="323850" y="171612"/>
                      <a:pt x="326793" y="180613"/>
                      <a:pt x="331784" y="188147"/>
                    </a:cubicBezTo>
                    <a:lnTo>
                      <a:pt x="328270" y="191662"/>
                    </a:lnTo>
                    <a:cubicBezTo>
                      <a:pt x="322955" y="196977"/>
                      <a:pt x="315592" y="200025"/>
                      <a:pt x="308067" y="200025"/>
                    </a:cubicBezTo>
                    <a:lnTo>
                      <a:pt x="292837" y="200025"/>
                    </a:lnTo>
                    <a:cubicBezTo>
                      <a:pt x="275615" y="193881"/>
                      <a:pt x="257204" y="190500"/>
                      <a:pt x="238125" y="190500"/>
                    </a:cubicBezTo>
                    <a:cubicBezTo>
                      <a:pt x="189271" y="190500"/>
                      <a:pt x="144475" y="212103"/>
                      <a:pt x="114300" y="248021"/>
                    </a:cubicBezTo>
                    <a:lnTo>
                      <a:pt x="114300" y="57150"/>
                    </a:lnTo>
                    <a:lnTo>
                      <a:pt x="533400" y="57150"/>
                    </a:lnTo>
                    <a:lnTo>
                      <a:pt x="533400" y="304800"/>
                    </a:lnTo>
                    <a:lnTo>
                      <a:pt x="431463" y="304800"/>
                    </a:lnTo>
                    <a:cubicBezTo>
                      <a:pt x="424072" y="293370"/>
                      <a:pt x="411270" y="285750"/>
                      <a:pt x="396678" y="285750"/>
                    </a:cubicBezTo>
                    <a:close/>
                    <a:moveTo>
                      <a:pt x="342414" y="285750"/>
                    </a:moveTo>
                    <a:cubicBezTo>
                      <a:pt x="319745" y="250384"/>
                      <a:pt x="280321" y="228600"/>
                      <a:pt x="238125" y="228600"/>
                    </a:cubicBezTo>
                    <a:cubicBezTo>
                      <a:pt x="195939" y="228600"/>
                      <a:pt x="156505" y="250384"/>
                      <a:pt x="133836" y="285750"/>
                    </a:cubicBezTo>
                    <a:lnTo>
                      <a:pt x="111804" y="285750"/>
                    </a:lnTo>
                    <a:cubicBezTo>
                      <a:pt x="136369" y="239058"/>
                      <a:pt x="184471" y="209550"/>
                      <a:pt x="238125" y="209550"/>
                    </a:cubicBezTo>
                    <a:cubicBezTo>
                      <a:pt x="291770" y="209550"/>
                      <a:pt x="339871" y="239058"/>
                      <a:pt x="364446" y="285750"/>
                    </a:cubicBezTo>
                    <a:lnTo>
                      <a:pt x="342414" y="285750"/>
                    </a:lnTo>
                    <a:close/>
                    <a:moveTo>
                      <a:pt x="318707" y="285750"/>
                    </a:moveTo>
                    <a:lnTo>
                      <a:pt x="157544" y="285750"/>
                    </a:lnTo>
                    <a:cubicBezTo>
                      <a:pt x="177279" y="261985"/>
                      <a:pt x="206750" y="247650"/>
                      <a:pt x="238125" y="247650"/>
                    </a:cubicBezTo>
                    <a:cubicBezTo>
                      <a:pt x="269500" y="247650"/>
                      <a:pt x="298971" y="261985"/>
                      <a:pt x="318707" y="285750"/>
                    </a:cubicBezTo>
                    <a:close/>
                    <a:moveTo>
                      <a:pt x="466725" y="133350"/>
                    </a:moveTo>
                    <a:cubicBezTo>
                      <a:pt x="479127" y="133350"/>
                      <a:pt x="489604" y="141341"/>
                      <a:pt x="493547" y="152400"/>
                    </a:cubicBezTo>
                    <a:lnTo>
                      <a:pt x="405936" y="152400"/>
                    </a:lnTo>
                    <a:lnTo>
                      <a:pt x="396411" y="133350"/>
                    </a:lnTo>
                    <a:lnTo>
                      <a:pt x="466725" y="133350"/>
                    </a:lnTo>
                    <a:close/>
                    <a:moveTo>
                      <a:pt x="466725" y="190500"/>
                    </a:moveTo>
                    <a:lnTo>
                      <a:pt x="396411" y="190500"/>
                    </a:lnTo>
                    <a:lnTo>
                      <a:pt x="405936" y="171450"/>
                    </a:lnTo>
                    <a:lnTo>
                      <a:pt x="493547" y="171450"/>
                    </a:lnTo>
                    <a:cubicBezTo>
                      <a:pt x="489604" y="182509"/>
                      <a:pt x="479127" y="190500"/>
                      <a:pt x="466725" y="190500"/>
                    </a:cubicBezTo>
                    <a:close/>
                    <a:moveTo>
                      <a:pt x="375114" y="133350"/>
                    </a:moveTo>
                    <a:lnTo>
                      <a:pt x="389401" y="161925"/>
                    </a:lnTo>
                    <a:lnTo>
                      <a:pt x="375114" y="190500"/>
                    </a:lnTo>
                    <a:lnTo>
                      <a:pt x="371475" y="190500"/>
                    </a:lnTo>
                    <a:cubicBezTo>
                      <a:pt x="355721" y="190500"/>
                      <a:pt x="342900" y="177679"/>
                      <a:pt x="342900" y="161925"/>
                    </a:cubicBezTo>
                    <a:cubicBezTo>
                      <a:pt x="342900" y="146171"/>
                      <a:pt x="355721" y="133350"/>
                      <a:pt x="371475" y="133350"/>
                    </a:cubicBezTo>
                    <a:lnTo>
                      <a:pt x="375114" y="133350"/>
                    </a:lnTo>
                    <a:close/>
                    <a:moveTo>
                      <a:pt x="84992" y="401136"/>
                    </a:moveTo>
                    <a:lnTo>
                      <a:pt x="58760" y="335556"/>
                    </a:lnTo>
                    <a:cubicBezTo>
                      <a:pt x="57693" y="332889"/>
                      <a:pt x="57150" y="330089"/>
                      <a:pt x="57150" y="327222"/>
                    </a:cubicBezTo>
                    <a:cubicBezTo>
                      <a:pt x="57150" y="314858"/>
                      <a:pt x="67208" y="304800"/>
                      <a:pt x="79572" y="304800"/>
                    </a:cubicBezTo>
                    <a:lnTo>
                      <a:pt x="390525" y="304800"/>
                    </a:lnTo>
                    <a:lnTo>
                      <a:pt x="396678" y="304800"/>
                    </a:lnTo>
                    <a:cubicBezTo>
                      <a:pt x="409042" y="304800"/>
                      <a:pt x="419100" y="314858"/>
                      <a:pt x="419100" y="327222"/>
                    </a:cubicBezTo>
                    <a:cubicBezTo>
                      <a:pt x="419100" y="330089"/>
                      <a:pt x="418557" y="332889"/>
                      <a:pt x="417500" y="335547"/>
                    </a:cubicBezTo>
                    <a:lnTo>
                      <a:pt x="391268" y="401136"/>
                    </a:lnTo>
                    <a:cubicBezTo>
                      <a:pt x="386896" y="412051"/>
                      <a:pt x="376485" y="419100"/>
                      <a:pt x="364731" y="419100"/>
                    </a:cubicBezTo>
                    <a:lnTo>
                      <a:pt x="309296" y="419100"/>
                    </a:lnTo>
                    <a:cubicBezTo>
                      <a:pt x="298399" y="419100"/>
                      <a:pt x="288608" y="413052"/>
                      <a:pt x="283740" y="403308"/>
                    </a:cubicBezTo>
                    <a:lnTo>
                      <a:pt x="274215" y="384258"/>
                    </a:lnTo>
                    <a:cubicBezTo>
                      <a:pt x="267338" y="370494"/>
                      <a:pt x="253508" y="361950"/>
                      <a:pt x="238125" y="361950"/>
                    </a:cubicBezTo>
                    <a:cubicBezTo>
                      <a:pt x="222742" y="361950"/>
                      <a:pt x="208912" y="370494"/>
                      <a:pt x="202035" y="384258"/>
                    </a:cubicBezTo>
                    <a:lnTo>
                      <a:pt x="192510" y="403308"/>
                    </a:lnTo>
                    <a:cubicBezTo>
                      <a:pt x="187643" y="413052"/>
                      <a:pt x="177851" y="419100"/>
                      <a:pt x="166954" y="419100"/>
                    </a:cubicBezTo>
                    <a:lnTo>
                      <a:pt x="111519" y="419100"/>
                    </a:lnTo>
                    <a:cubicBezTo>
                      <a:pt x="99765" y="419100"/>
                      <a:pt x="89354" y="412051"/>
                      <a:pt x="84992" y="401136"/>
                    </a:cubicBezTo>
                    <a:close/>
                    <a:moveTo>
                      <a:pt x="299809" y="437093"/>
                    </a:moveTo>
                    <a:cubicBezTo>
                      <a:pt x="282026" y="450037"/>
                      <a:pt x="260452" y="457200"/>
                      <a:pt x="238125" y="457200"/>
                    </a:cubicBezTo>
                    <a:cubicBezTo>
                      <a:pt x="215808" y="457200"/>
                      <a:pt x="194215" y="450037"/>
                      <a:pt x="176432" y="437102"/>
                    </a:cubicBezTo>
                    <a:cubicBezTo>
                      <a:pt x="190643" y="434245"/>
                      <a:pt x="202883" y="425167"/>
                      <a:pt x="209550" y="411832"/>
                    </a:cubicBezTo>
                    <a:lnTo>
                      <a:pt x="219075" y="392782"/>
                    </a:lnTo>
                    <a:cubicBezTo>
                      <a:pt x="222704" y="385515"/>
                      <a:pt x="230000" y="381000"/>
                      <a:pt x="238125" y="381000"/>
                    </a:cubicBezTo>
                    <a:cubicBezTo>
                      <a:pt x="246250" y="381000"/>
                      <a:pt x="253546" y="385515"/>
                      <a:pt x="257175" y="392773"/>
                    </a:cubicBezTo>
                    <a:lnTo>
                      <a:pt x="266700" y="411823"/>
                    </a:lnTo>
                    <a:cubicBezTo>
                      <a:pt x="273368" y="425158"/>
                      <a:pt x="285598" y="434235"/>
                      <a:pt x="299809" y="437093"/>
                    </a:cubicBezTo>
                    <a:close/>
                    <a:moveTo>
                      <a:pt x="60284" y="564423"/>
                    </a:moveTo>
                    <a:cubicBezTo>
                      <a:pt x="55721" y="568985"/>
                      <a:pt x="49654" y="571500"/>
                      <a:pt x="43205" y="571500"/>
                    </a:cubicBezTo>
                    <a:cubicBezTo>
                      <a:pt x="29889" y="571500"/>
                      <a:pt x="19050" y="560661"/>
                      <a:pt x="19050" y="547345"/>
                    </a:cubicBezTo>
                    <a:cubicBezTo>
                      <a:pt x="19050" y="540896"/>
                      <a:pt x="21565" y="534829"/>
                      <a:pt x="26127" y="530266"/>
                    </a:cubicBezTo>
                    <a:lnTo>
                      <a:pt x="107880" y="448513"/>
                    </a:lnTo>
                    <a:cubicBezTo>
                      <a:pt x="117596" y="461639"/>
                      <a:pt x="129149" y="473097"/>
                      <a:pt x="142084" y="482622"/>
                    </a:cubicBezTo>
                    <a:lnTo>
                      <a:pt x="60284" y="564423"/>
                    </a:lnTo>
                    <a:close/>
                    <a:moveTo>
                      <a:pt x="238125" y="495300"/>
                    </a:moveTo>
                    <a:cubicBezTo>
                      <a:pt x="193005" y="495300"/>
                      <a:pt x="150666" y="473754"/>
                      <a:pt x="123873" y="438150"/>
                    </a:cubicBezTo>
                    <a:lnTo>
                      <a:pt x="149000" y="438150"/>
                    </a:lnTo>
                    <a:cubicBezTo>
                      <a:pt x="172288" y="462344"/>
                      <a:pt x="204454" y="476250"/>
                      <a:pt x="238135" y="476250"/>
                    </a:cubicBezTo>
                    <a:cubicBezTo>
                      <a:pt x="271824" y="476250"/>
                      <a:pt x="303962" y="462344"/>
                      <a:pt x="327260" y="438150"/>
                    </a:cubicBezTo>
                    <a:lnTo>
                      <a:pt x="352368" y="438150"/>
                    </a:lnTo>
                    <a:cubicBezTo>
                      <a:pt x="325565" y="473745"/>
                      <a:pt x="283207" y="495300"/>
                      <a:pt x="238125" y="495300"/>
                    </a:cubicBezTo>
                    <a:close/>
                    <a:moveTo>
                      <a:pt x="476250" y="438150"/>
                    </a:moveTo>
                    <a:lnTo>
                      <a:pt x="375418" y="438150"/>
                    </a:lnTo>
                    <a:cubicBezTo>
                      <a:pt x="375742" y="437636"/>
                      <a:pt x="376066" y="437121"/>
                      <a:pt x="376390" y="436597"/>
                    </a:cubicBezTo>
                    <a:cubicBezTo>
                      <a:pt x="386963" y="433949"/>
                      <a:pt x="396230" y="427815"/>
                      <a:pt x="402746" y="419100"/>
                    </a:cubicBezTo>
                    <a:lnTo>
                      <a:pt x="476250" y="419100"/>
                    </a:lnTo>
                    <a:lnTo>
                      <a:pt x="476250" y="438150"/>
                    </a:lnTo>
                    <a:close/>
                    <a:moveTo>
                      <a:pt x="438150" y="400050"/>
                    </a:moveTo>
                    <a:lnTo>
                      <a:pt x="412213" y="400050"/>
                    </a:lnTo>
                    <a:lnTo>
                      <a:pt x="419833" y="381000"/>
                    </a:lnTo>
                    <a:lnTo>
                      <a:pt x="438150" y="381000"/>
                    </a:lnTo>
                    <a:lnTo>
                      <a:pt x="438150" y="400050"/>
                    </a:lnTo>
                    <a:close/>
                    <a:moveTo>
                      <a:pt x="542925" y="361950"/>
                    </a:moveTo>
                    <a:lnTo>
                      <a:pt x="427453" y="361950"/>
                    </a:lnTo>
                    <a:lnTo>
                      <a:pt x="435188" y="342624"/>
                    </a:lnTo>
                    <a:cubicBezTo>
                      <a:pt x="437159" y="337699"/>
                      <a:pt x="438150" y="332518"/>
                      <a:pt x="438150" y="327222"/>
                    </a:cubicBezTo>
                    <a:cubicBezTo>
                      <a:pt x="438150" y="326069"/>
                      <a:pt x="437902" y="324983"/>
                      <a:pt x="437807" y="323850"/>
                    </a:cubicBezTo>
                    <a:lnTo>
                      <a:pt x="571500" y="323850"/>
                    </a:lnTo>
                    <a:lnTo>
                      <a:pt x="571500" y="333375"/>
                    </a:lnTo>
                    <a:cubicBezTo>
                      <a:pt x="571500" y="349129"/>
                      <a:pt x="558679" y="361950"/>
                      <a:pt x="542925" y="3619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6" name="Freeform: Shape 9495">
                <a:extLst>
                  <a:ext uri="{FF2B5EF4-FFF2-40B4-BE49-F238E27FC236}">
                    <a16:creationId xmlns:a16="http://schemas.microsoft.com/office/drawing/2014/main" id="{E60355D9-527E-1D43-C679-2E0B133A3D6A}"/>
                  </a:ext>
                </a:extLst>
              </p:cNvPr>
              <p:cNvSpPr/>
              <p:nvPr/>
            </p:nvSpPr>
            <p:spPr>
              <a:xfrm>
                <a:off x="5934075" y="3133725"/>
                <a:ext cx="133350" cy="19050"/>
              </a:xfrm>
              <a:custGeom>
                <a:avLst/>
                <a:gdLst>
                  <a:gd name="connsiteX0" fmla="*/ 0 w 133350"/>
                  <a:gd name="connsiteY0" fmla="*/ 0 h 19050"/>
                  <a:gd name="connsiteX1" fmla="*/ 133350 w 133350"/>
                  <a:gd name="connsiteY1" fmla="*/ 0 h 19050"/>
                  <a:gd name="connsiteX2" fmla="*/ 133350 w 133350"/>
                  <a:gd name="connsiteY2" fmla="*/ 19050 h 19050"/>
                  <a:gd name="connsiteX3" fmla="*/ 0 w 1333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9050">
                    <a:moveTo>
                      <a:pt x="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9" name="Freeform: Shape 9498">
                <a:extLst>
                  <a:ext uri="{FF2B5EF4-FFF2-40B4-BE49-F238E27FC236}">
                    <a16:creationId xmlns:a16="http://schemas.microsoft.com/office/drawing/2014/main" id="{D4A04FCC-5D51-A832-77B3-311DDC04D702}"/>
                  </a:ext>
                </a:extLst>
              </p:cNvPr>
              <p:cNvSpPr/>
              <p:nvPr/>
            </p:nvSpPr>
            <p:spPr>
              <a:xfrm>
                <a:off x="5934075" y="3171825"/>
                <a:ext cx="133350" cy="19050"/>
              </a:xfrm>
              <a:custGeom>
                <a:avLst/>
                <a:gdLst>
                  <a:gd name="connsiteX0" fmla="*/ 0 w 133350"/>
                  <a:gd name="connsiteY0" fmla="*/ 0 h 19050"/>
                  <a:gd name="connsiteX1" fmla="*/ 133350 w 133350"/>
                  <a:gd name="connsiteY1" fmla="*/ 0 h 19050"/>
                  <a:gd name="connsiteX2" fmla="*/ 133350 w 133350"/>
                  <a:gd name="connsiteY2" fmla="*/ 19050 h 19050"/>
                  <a:gd name="connsiteX3" fmla="*/ 0 w 1333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9050">
                    <a:moveTo>
                      <a:pt x="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0" name="Freeform: Shape 9499">
                <a:extLst>
                  <a:ext uri="{FF2B5EF4-FFF2-40B4-BE49-F238E27FC236}">
                    <a16:creationId xmlns:a16="http://schemas.microsoft.com/office/drawing/2014/main" id="{A582B3A2-CC31-D3FF-2938-A3C978F94A80}"/>
                  </a:ext>
                </a:extLst>
              </p:cNvPr>
              <p:cNvSpPr/>
              <p:nvPr/>
            </p:nvSpPr>
            <p:spPr>
              <a:xfrm>
                <a:off x="6048375" y="320992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1" name="Freeform: Shape 9500">
                <a:extLst>
                  <a:ext uri="{FF2B5EF4-FFF2-40B4-BE49-F238E27FC236}">
                    <a16:creationId xmlns:a16="http://schemas.microsoft.com/office/drawing/2014/main" id="{F21178C9-A3E4-3210-3EBE-51A16DA417F3}"/>
                  </a:ext>
                </a:extLst>
              </p:cNvPr>
              <p:cNvSpPr/>
              <p:nvPr/>
            </p:nvSpPr>
            <p:spPr>
              <a:xfrm>
                <a:off x="5934075" y="3209925"/>
                <a:ext cx="95250" cy="19050"/>
              </a:xfrm>
              <a:custGeom>
                <a:avLst/>
                <a:gdLst>
                  <a:gd name="connsiteX0" fmla="*/ 0 w 95250"/>
                  <a:gd name="connsiteY0" fmla="*/ 0 h 19050"/>
                  <a:gd name="connsiteX1" fmla="*/ 95250 w 95250"/>
                  <a:gd name="connsiteY1" fmla="*/ 0 h 19050"/>
                  <a:gd name="connsiteX2" fmla="*/ 95250 w 95250"/>
                  <a:gd name="connsiteY2" fmla="*/ 19050 h 19050"/>
                  <a:gd name="connsiteX3" fmla="*/ 0 w 952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19050">
                    <a:moveTo>
                      <a:pt x="0" y="0"/>
                    </a:moveTo>
                    <a:lnTo>
                      <a:pt x="95250" y="0"/>
                    </a:lnTo>
                    <a:lnTo>
                      <a:pt x="952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2" name="Freeform: Shape 9501">
                <a:extLst>
                  <a:ext uri="{FF2B5EF4-FFF2-40B4-BE49-F238E27FC236}">
                    <a16:creationId xmlns:a16="http://schemas.microsoft.com/office/drawing/2014/main" id="{4EEA2AB8-B92E-A86B-7C43-5B17F2254DE8}"/>
                  </a:ext>
                </a:extLst>
              </p:cNvPr>
              <p:cNvSpPr/>
              <p:nvPr/>
            </p:nvSpPr>
            <p:spPr>
              <a:xfrm>
                <a:off x="58864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4" name="Freeform: Shape 9503">
                <a:extLst>
                  <a:ext uri="{FF2B5EF4-FFF2-40B4-BE49-F238E27FC236}">
                    <a16:creationId xmlns:a16="http://schemas.microsoft.com/office/drawing/2014/main" id="{A2DB9CAC-A220-D26A-5D2F-4638B77941D3}"/>
                  </a:ext>
                </a:extLst>
              </p:cNvPr>
              <p:cNvSpPr/>
              <p:nvPr/>
            </p:nvSpPr>
            <p:spPr>
              <a:xfrm>
                <a:off x="59245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5" name="Freeform: Shape 9504">
                <a:extLst>
                  <a:ext uri="{FF2B5EF4-FFF2-40B4-BE49-F238E27FC236}">
                    <a16:creationId xmlns:a16="http://schemas.microsoft.com/office/drawing/2014/main" id="{DD058460-92B5-292C-9166-266948347352}"/>
                  </a:ext>
                </a:extLst>
              </p:cNvPr>
              <p:cNvSpPr/>
              <p:nvPr/>
            </p:nvSpPr>
            <p:spPr>
              <a:xfrm>
                <a:off x="59626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5" name="Freeform: Shape 9514">
                <a:extLst>
                  <a:ext uri="{FF2B5EF4-FFF2-40B4-BE49-F238E27FC236}">
                    <a16:creationId xmlns:a16="http://schemas.microsoft.com/office/drawing/2014/main" id="{E62C8AF3-BD6B-7BD6-A85D-7CBC60DF35AA}"/>
                  </a:ext>
                </a:extLst>
              </p:cNvPr>
              <p:cNvSpPr/>
              <p:nvPr/>
            </p:nvSpPr>
            <p:spPr>
              <a:xfrm>
                <a:off x="60960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6" name="Freeform: Shape 9515">
                <a:extLst>
                  <a:ext uri="{FF2B5EF4-FFF2-40B4-BE49-F238E27FC236}">
                    <a16:creationId xmlns:a16="http://schemas.microsoft.com/office/drawing/2014/main" id="{02FA6865-B974-352D-462D-A30E04887B03}"/>
                  </a:ext>
                </a:extLst>
              </p:cNvPr>
              <p:cNvSpPr/>
              <p:nvPr/>
            </p:nvSpPr>
            <p:spPr>
              <a:xfrm>
                <a:off x="61341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7" name="Freeform: Shape 9516">
                <a:extLst>
                  <a:ext uri="{FF2B5EF4-FFF2-40B4-BE49-F238E27FC236}">
                    <a16:creationId xmlns:a16="http://schemas.microsoft.com/office/drawing/2014/main" id="{7D2EDC5C-3A41-FAB2-D39B-CABF977301B8}"/>
                  </a:ext>
                </a:extLst>
              </p:cNvPr>
              <p:cNvSpPr/>
              <p:nvPr/>
            </p:nvSpPr>
            <p:spPr>
              <a:xfrm>
                <a:off x="61722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9536" name="Group 9535">
            <a:extLst>
              <a:ext uri="{FF2B5EF4-FFF2-40B4-BE49-F238E27FC236}">
                <a16:creationId xmlns:a16="http://schemas.microsoft.com/office/drawing/2014/main" id="{1902C08F-696C-93E4-C779-0F74A8FA44CA}"/>
              </a:ext>
            </a:extLst>
          </p:cNvPr>
          <p:cNvGrpSpPr/>
          <p:nvPr/>
        </p:nvGrpSpPr>
        <p:grpSpPr>
          <a:xfrm>
            <a:off x="476251" y="4969205"/>
            <a:ext cx="863600" cy="863600"/>
            <a:chOff x="476251" y="5108875"/>
            <a:chExt cx="863600" cy="863600"/>
          </a:xfrm>
        </p:grpSpPr>
        <p:sp>
          <p:nvSpPr>
            <p:cNvPr id="9521" name="Oval 9520">
              <a:extLst>
                <a:ext uri="{FF2B5EF4-FFF2-40B4-BE49-F238E27FC236}">
                  <a16:creationId xmlns:a16="http://schemas.microsoft.com/office/drawing/2014/main" id="{CEEE2DDB-C283-3F6B-38DB-01D3C44CDE38}"/>
                </a:ext>
              </a:extLst>
            </p:cNvPr>
            <p:cNvSpPr/>
            <p:nvPr/>
          </p:nvSpPr>
          <p:spPr>
            <a:xfrm>
              <a:off x="476251" y="510887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Google Shape;9503;p5">
              <a:extLst>
                <a:ext uri="{FF2B5EF4-FFF2-40B4-BE49-F238E27FC236}">
                  <a16:creationId xmlns:a16="http://schemas.microsoft.com/office/drawing/2014/main" id="{15D32ADE-D15A-785D-2900-F20A58D26B8E}"/>
                </a:ext>
              </a:extLst>
            </p:cNvPr>
            <p:cNvSpPr/>
            <p:nvPr/>
          </p:nvSpPr>
          <p:spPr>
            <a:xfrm>
              <a:off x="647888" y="5280799"/>
              <a:ext cx="520326" cy="519752"/>
            </a:xfrm>
            <a:custGeom>
              <a:avLst/>
              <a:gdLst/>
              <a:ahLst/>
              <a:cxnLst/>
              <a:rect l="l" t="t" r="r" b="b"/>
              <a:pathLst>
                <a:path w="2858148" h="2854972" extrusionOk="0">
                  <a:moveTo>
                    <a:pt x="1376992" y="1372959"/>
                  </a:moveTo>
                  <a:lnTo>
                    <a:pt x="1376992" y="40542"/>
                  </a:lnTo>
                  <a:cubicBezTo>
                    <a:pt x="1376992" y="29334"/>
                    <a:pt x="1372351" y="18644"/>
                    <a:pt x="1364188" y="10958"/>
                  </a:cubicBezTo>
                  <a:cubicBezTo>
                    <a:pt x="1356026" y="3293"/>
                    <a:pt x="1345046" y="-705"/>
                    <a:pt x="1333838" y="102"/>
                  </a:cubicBezTo>
                  <a:cubicBezTo>
                    <a:pt x="972447" y="23927"/>
                    <a:pt x="636418" y="182784"/>
                    <a:pt x="387574" y="447469"/>
                  </a:cubicBezTo>
                  <a:cubicBezTo>
                    <a:pt x="137644" y="713332"/>
                    <a:pt x="0" y="1060881"/>
                    <a:pt x="0" y="1425978"/>
                  </a:cubicBezTo>
                  <a:cubicBezTo>
                    <a:pt x="0" y="1647296"/>
                    <a:pt x="49307" y="1859567"/>
                    <a:pt x="146575" y="2056891"/>
                  </a:cubicBezTo>
                  <a:cubicBezTo>
                    <a:pt x="151526" y="2066939"/>
                    <a:pt x="160435" y="2074501"/>
                    <a:pt x="171145" y="2077753"/>
                  </a:cubicBezTo>
                  <a:cubicBezTo>
                    <a:pt x="174978" y="2078934"/>
                    <a:pt x="178935" y="2079494"/>
                    <a:pt x="182892" y="2079494"/>
                  </a:cubicBezTo>
                  <a:cubicBezTo>
                    <a:pt x="189935" y="2079494"/>
                    <a:pt x="196938" y="2077671"/>
                    <a:pt x="203153" y="2074087"/>
                  </a:cubicBezTo>
                  <a:lnTo>
                    <a:pt x="1356733" y="1408064"/>
                  </a:lnTo>
                  <a:cubicBezTo>
                    <a:pt x="1369246" y="1400813"/>
                    <a:pt x="1376994" y="1387451"/>
                    <a:pt x="1376994" y="1372969"/>
                  </a:cubicBezTo>
                  <a:close/>
                  <a:moveTo>
                    <a:pt x="1295990" y="1349569"/>
                  </a:moveTo>
                  <a:lnTo>
                    <a:pt x="200697" y="1981913"/>
                  </a:lnTo>
                  <a:cubicBezTo>
                    <a:pt x="121228" y="1806959"/>
                    <a:pt x="80995" y="1620152"/>
                    <a:pt x="80995" y="1425887"/>
                  </a:cubicBezTo>
                  <a:cubicBezTo>
                    <a:pt x="80995" y="732657"/>
                    <a:pt x="611267" y="151598"/>
                    <a:pt x="1295990" y="84402"/>
                  </a:cubicBezTo>
                  <a:close/>
                  <a:moveTo>
                    <a:pt x="2603215" y="2163455"/>
                  </a:moveTo>
                  <a:lnTo>
                    <a:pt x="1449317" y="1497273"/>
                  </a:lnTo>
                  <a:cubicBezTo>
                    <a:pt x="1436783" y="1490043"/>
                    <a:pt x="1421349" y="1490043"/>
                    <a:pt x="1408815" y="1497273"/>
                  </a:cubicBezTo>
                  <a:lnTo>
                    <a:pt x="254917" y="2163455"/>
                  </a:lnTo>
                  <a:cubicBezTo>
                    <a:pt x="245201" y="2169049"/>
                    <a:pt x="238240" y="2178454"/>
                    <a:pt x="235712" y="2189372"/>
                  </a:cubicBezTo>
                  <a:cubicBezTo>
                    <a:pt x="233184" y="2200290"/>
                    <a:pt x="235277" y="2211767"/>
                    <a:pt x="241534" y="2221090"/>
                  </a:cubicBezTo>
                  <a:cubicBezTo>
                    <a:pt x="507810" y="2618009"/>
                    <a:pt x="951735" y="2854973"/>
                    <a:pt x="1429056" y="2854973"/>
                  </a:cubicBezTo>
                  <a:cubicBezTo>
                    <a:pt x="1906378" y="2854973"/>
                    <a:pt x="2350287" y="2617988"/>
                    <a:pt x="2616579" y="2221090"/>
                  </a:cubicBezTo>
                  <a:cubicBezTo>
                    <a:pt x="2622836" y="2211788"/>
                    <a:pt x="2624928" y="2200290"/>
                    <a:pt x="2622401" y="2189372"/>
                  </a:cubicBezTo>
                  <a:cubicBezTo>
                    <a:pt x="2619853" y="2178433"/>
                    <a:pt x="2612892" y="2169069"/>
                    <a:pt x="2603175" y="2163434"/>
                  </a:cubicBezTo>
                  <a:close/>
                  <a:moveTo>
                    <a:pt x="1429057" y="2774002"/>
                  </a:moveTo>
                  <a:cubicBezTo>
                    <a:pt x="993273" y="2774002"/>
                    <a:pt x="586956" y="2564553"/>
                    <a:pt x="333551" y="2211611"/>
                  </a:cubicBezTo>
                  <a:lnTo>
                    <a:pt x="1429057" y="1579107"/>
                  </a:lnTo>
                  <a:lnTo>
                    <a:pt x="2524563" y="2211611"/>
                  </a:lnTo>
                  <a:cubicBezTo>
                    <a:pt x="2271132" y="2564548"/>
                    <a:pt x="1864851" y="2774002"/>
                    <a:pt x="1429057" y="2774002"/>
                  </a:cubicBezTo>
                  <a:close/>
                  <a:moveTo>
                    <a:pt x="2470572" y="447431"/>
                  </a:moveTo>
                  <a:cubicBezTo>
                    <a:pt x="2221739" y="182751"/>
                    <a:pt x="1885694" y="23893"/>
                    <a:pt x="1524309" y="107"/>
                  </a:cubicBezTo>
                  <a:cubicBezTo>
                    <a:pt x="1513142" y="-660"/>
                    <a:pt x="1502162" y="3297"/>
                    <a:pt x="1493958" y="10963"/>
                  </a:cubicBezTo>
                  <a:cubicBezTo>
                    <a:pt x="1485796" y="18607"/>
                    <a:pt x="1481155" y="29318"/>
                    <a:pt x="1481155" y="40546"/>
                  </a:cubicBezTo>
                  <a:lnTo>
                    <a:pt x="1481155" y="1372963"/>
                  </a:lnTo>
                  <a:cubicBezTo>
                    <a:pt x="1481155" y="1387444"/>
                    <a:pt x="1488862" y="1400806"/>
                    <a:pt x="1501416" y="1408037"/>
                  </a:cubicBezTo>
                  <a:lnTo>
                    <a:pt x="2654996" y="2074059"/>
                  </a:lnTo>
                  <a:cubicBezTo>
                    <a:pt x="2661211" y="2077644"/>
                    <a:pt x="2668214" y="2079466"/>
                    <a:pt x="2675257" y="2079466"/>
                  </a:cubicBezTo>
                  <a:cubicBezTo>
                    <a:pt x="2679194" y="2079466"/>
                    <a:pt x="2683171" y="2078886"/>
                    <a:pt x="2687004" y="2077726"/>
                  </a:cubicBezTo>
                  <a:cubicBezTo>
                    <a:pt x="2697714" y="2074474"/>
                    <a:pt x="2706623" y="2066932"/>
                    <a:pt x="2711574" y="2056864"/>
                  </a:cubicBezTo>
                  <a:cubicBezTo>
                    <a:pt x="2808842" y="1859513"/>
                    <a:pt x="2858149" y="1647248"/>
                    <a:pt x="2858149" y="1425951"/>
                  </a:cubicBezTo>
                  <a:cubicBezTo>
                    <a:pt x="2858149" y="1060832"/>
                    <a:pt x="2720505" y="713310"/>
                    <a:pt x="2470574" y="447442"/>
                  </a:cubicBezTo>
                  <a:close/>
                  <a:moveTo>
                    <a:pt x="2657460" y="1981913"/>
                  </a:moveTo>
                  <a:lnTo>
                    <a:pt x="1562166" y="1349569"/>
                  </a:lnTo>
                  <a:lnTo>
                    <a:pt x="1562145" y="84455"/>
                  </a:lnTo>
                  <a:cubicBezTo>
                    <a:pt x="2246889" y="151662"/>
                    <a:pt x="2777140" y="732710"/>
                    <a:pt x="2777140" y="1425940"/>
                  </a:cubicBezTo>
                  <a:cubicBezTo>
                    <a:pt x="2777140" y="1620183"/>
                    <a:pt x="2736888" y="1806991"/>
                    <a:pt x="2657439" y="1981967"/>
                  </a:cubicBezTo>
                  <a:close/>
                  <a:moveTo>
                    <a:pt x="1449041" y="1811102"/>
                  </a:moveTo>
                  <a:lnTo>
                    <a:pt x="1754951" y="1984237"/>
                  </a:lnTo>
                  <a:lnTo>
                    <a:pt x="1738087" y="1917571"/>
                  </a:lnTo>
                  <a:cubicBezTo>
                    <a:pt x="1732618" y="1895880"/>
                    <a:pt x="1745732" y="1873858"/>
                    <a:pt x="1767422" y="1868388"/>
                  </a:cubicBezTo>
                  <a:cubicBezTo>
                    <a:pt x="1789113" y="1862940"/>
                    <a:pt x="1811135" y="1876033"/>
                    <a:pt x="1816604" y="1897724"/>
                  </a:cubicBezTo>
                  <a:lnTo>
                    <a:pt x="1856692" y="2056210"/>
                  </a:lnTo>
                  <a:cubicBezTo>
                    <a:pt x="1862161" y="2077901"/>
                    <a:pt x="1849047" y="2099923"/>
                    <a:pt x="1827357" y="2105392"/>
                  </a:cubicBezTo>
                  <a:lnTo>
                    <a:pt x="1668870" y="2145480"/>
                  </a:lnTo>
                  <a:cubicBezTo>
                    <a:pt x="1647221" y="2150949"/>
                    <a:pt x="1625157" y="2137835"/>
                    <a:pt x="1619688" y="2116145"/>
                  </a:cubicBezTo>
                  <a:cubicBezTo>
                    <a:pt x="1614219" y="2094454"/>
                    <a:pt x="1627333" y="2072432"/>
                    <a:pt x="1649023" y="2066963"/>
                  </a:cubicBezTo>
                  <a:lnTo>
                    <a:pt x="1709601" y="2051653"/>
                  </a:lnTo>
                  <a:lnTo>
                    <a:pt x="1430542" y="1893750"/>
                  </a:lnTo>
                  <a:lnTo>
                    <a:pt x="1031470" y="2152919"/>
                  </a:lnTo>
                  <a:cubicBezTo>
                    <a:pt x="1024654" y="2157353"/>
                    <a:pt x="1017030" y="2159445"/>
                    <a:pt x="1009448" y="2159445"/>
                  </a:cubicBezTo>
                  <a:cubicBezTo>
                    <a:pt x="996210" y="2159445"/>
                    <a:pt x="983220" y="2152940"/>
                    <a:pt x="975451" y="2141007"/>
                  </a:cubicBezTo>
                  <a:cubicBezTo>
                    <a:pt x="963269" y="2122258"/>
                    <a:pt x="968614" y="2097170"/>
                    <a:pt x="987363" y="2084991"/>
                  </a:cubicBezTo>
                  <a:lnTo>
                    <a:pt x="1407030" y="1812456"/>
                  </a:lnTo>
                  <a:cubicBezTo>
                    <a:pt x="1419688" y="1804149"/>
                    <a:pt x="1435909" y="1803651"/>
                    <a:pt x="1449044" y="1811109"/>
                  </a:cubicBezTo>
                  <a:close/>
                  <a:moveTo>
                    <a:pt x="1180134" y="2326582"/>
                  </a:moveTo>
                  <a:lnTo>
                    <a:pt x="1009385" y="2326582"/>
                  </a:lnTo>
                  <a:cubicBezTo>
                    <a:pt x="987011" y="2326582"/>
                    <a:pt x="968883" y="2344710"/>
                    <a:pt x="968883" y="2367084"/>
                  </a:cubicBezTo>
                  <a:lnTo>
                    <a:pt x="968883" y="2551569"/>
                  </a:lnTo>
                  <a:cubicBezTo>
                    <a:pt x="968883" y="2573943"/>
                    <a:pt x="987011" y="2592070"/>
                    <a:pt x="1009385" y="2592070"/>
                  </a:cubicBezTo>
                  <a:lnTo>
                    <a:pt x="1180134" y="2592070"/>
                  </a:lnTo>
                  <a:cubicBezTo>
                    <a:pt x="1202508" y="2592070"/>
                    <a:pt x="1220636" y="2573943"/>
                    <a:pt x="1220636" y="2551569"/>
                  </a:cubicBezTo>
                  <a:lnTo>
                    <a:pt x="1220636" y="2367084"/>
                  </a:lnTo>
                  <a:cubicBezTo>
                    <a:pt x="1220636" y="2344709"/>
                    <a:pt x="1202508" y="2326582"/>
                    <a:pt x="1180134" y="2326582"/>
                  </a:cubicBezTo>
                  <a:close/>
                  <a:moveTo>
                    <a:pt x="1139632" y="2511067"/>
                  </a:moveTo>
                  <a:lnTo>
                    <a:pt x="1049885" y="2511067"/>
                  </a:lnTo>
                  <a:lnTo>
                    <a:pt x="1049885" y="2407584"/>
                  </a:lnTo>
                  <a:lnTo>
                    <a:pt x="1139632" y="2407584"/>
                  </a:lnTo>
                  <a:close/>
                  <a:moveTo>
                    <a:pt x="1678051" y="2326582"/>
                  </a:moveTo>
                  <a:cubicBezTo>
                    <a:pt x="1655676" y="2326582"/>
                    <a:pt x="1637549" y="2344710"/>
                    <a:pt x="1637549" y="2367084"/>
                  </a:cubicBezTo>
                  <a:lnTo>
                    <a:pt x="1637549" y="2551569"/>
                  </a:lnTo>
                  <a:cubicBezTo>
                    <a:pt x="1637549" y="2573943"/>
                    <a:pt x="1655676" y="2592070"/>
                    <a:pt x="1678051" y="2592070"/>
                  </a:cubicBezTo>
                  <a:lnTo>
                    <a:pt x="1848799" y="2592070"/>
                  </a:lnTo>
                  <a:cubicBezTo>
                    <a:pt x="1871174" y="2592070"/>
                    <a:pt x="1889301" y="2573943"/>
                    <a:pt x="1889301" y="2551569"/>
                  </a:cubicBezTo>
                  <a:lnTo>
                    <a:pt x="1889301" y="2367084"/>
                  </a:lnTo>
                  <a:cubicBezTo>
                    <a:pt x="1889301" y="2344709"/>
                    <a:pt x="1871173" y="2326582"/>
                    <a:pt x="1848799" y="2326582"/>
                  </a:cubicBezTo>
                  <a:close/>
                  <a:moveTo>
                    <a:pt x="1808301" y="2511067"/>
                  </a:moveTo>
                  <a:lnTo>
                    <a:pt x="1718554" y="2511067"/>
                  </a:lnTo>
                  <a:lnTo>
                    <a:pt x="1718554" y="2407584"/>
                  </a:lnTo>
                  <a:lnTo>
                    <a:pt x="1808301" y="2407584"/>
                  </a:lnTo>
                  <a:close/>
                  <a:moveTo>
                    <a:pt x="1514494" y="2144829"/>
                  </a:moveTo>
                  <a:lnTo>
                    <a:pt x="1343724" y="2144829"/>
                  </a:lnTo>
                  <a:cubicBezTo>
                    <a:pt x="1321349" y="2144829"/>
                    <a:pt x="1303222" y="2162956"/>
                    <a:pt x="1303222" y="2185330"/>
                  </a:cubicBezTo>
                  <a:lnTo>
                    <a:pt x="1303222" y="2551569"/>
                  </a:lnTo>
                  <a:cubicBezTo>
                    <a:pt x="1303222" y="2573943"/>
                    <a:pt x="1321350" y="2592070"/>
                    <a:pt x="1343724" y="2592070"/>
                  </a:cubicBezTo>
                  <a:lnTo>
                    <a:pt x="1514494" y="2592070"/>
                  </a:lnTo>
                  <a:cubicBezTo>
                    <a:pt x="1536868" y="2592070"/>
                    <a:pt x="1554996" y="2573943"/>
                    <a:pt x="1554996" y="2551569"/>
                  </a:cubicBezTo>
                  <a:lnTo>
                    <a:pt x="1554975" y="2185330"/>
                  </a:lnTo>
                  <a:cubicBezTo>
                    <a:pt x="1554975" y="2162956"/>
                    <a:pt x="1536847" y="2144829"/>
                    <a:pt x="1514494" y="2144829"/>
                  </a:cubicBezTo>
                  <a:close/>
                  <a:moveTo>
                    <a:pt x="1473992" y="2511067"/>
                  </a:moveTo>
                  <a:lnTo>
                    <a:pt x="1384245" y="2511067"/>
                  </a:lnTo>
                  <a:lnTo>
                    <a:pt x="1384245" y="2225814"/>
                  </a:lnTo>
                  <a:lnTo>
                    <a:pt x="1473992" y="2225814"/>
                  </a:lnTo>
                  <a:close/>
                  <a:moveTo>
                    <a:pt x="1862871" y="858633"/>
                  </a:moveTo>
                  <a:lnTo>
                    <a:pt x="1692101" y="858633"/>
                  </a:lnTo>
                  <a:cubicBezTo>
                    <a:pt x="1669727" y="858633"/>
                    <a:pt x="1651600" y="876761"/>
                    <a:pt x="1651600" y="899135"/>
                  </a:cubicBezTo>
                  <a:lnTo>
                    <a:pt x="1651600" y="1265373"/>
                  </a:lnTo>
                  <a:cubicBezTo>
                    <a:pt x="1651600" y="1287748"/>
                    <a:pt x="1669727" y="1305875"/>
                    <a:pt x="1692101" y="1305875"/>
                  </a:cubicBezTo>
                  <a:lnTo>
                    <a:pt x="1862871" y="1305875"/>
                  </a:lnTo>
                  <a:cubicBezTo>
                    <a:pt x="1885246" y="1305875"/>
                    <a:pt x="1903373" y="1287747"/>
                    <a:pt x="1903373" y="1265373"/>
                  </a:cubicBezTo>
                  <a:lnTo>
                    <a:pt x="1903373" y="899114"/>
                  </a:lnTo>
                  <a:cubicBezTo>
                    <a:pt x="1903373" y="876760"/>
                    <a:pt x="1885245" y="858632"/>
                    <a:pt x="1862871" y="858632"/>
                  </a:cubicBezTo>
                  <a:close/>
                  <a:moveTo>
                    <a:pt x="1822369" y="1224871"/>
                  </a:moveTo>
                  <a:lnTo>
                    <a:pt x="1732601" y="1224871"/>
                  </a:lnTo>
                  <a:lnTo>
                    <a:pt x="1732601" y="939619"/>
                  </a:lnTo>
                  <a:lnTo>
                    <a:pt x="1822348" y="939619"/>
                  </a:lnTo>
                  <a:lnTo>
                    <a:pt x="1822348" y="1224871"/>
                  </a:lnTo>
                  <a:close/>
                  <a:moveTo>
                    <a:pt x="2531510" y="858633"/>
                  </a:moveTo>
                  <a:lnTo>
                    <a:pt x="2360740" y="858633"/>
                  </a:lnTo>
                  <a:cubicBezTo>
                    <a:pt x="2338365" y="858633"/>
                    <a:pt x="2320238" y="876761"/>
                    <a:pt x="2320238" y="899135"/>
                  </a:cubicBezTo>
                  <a:lnTo>
                    <a:pt x="2320238" y="1265373"/>
                  </a:lnTo>
                  <a:cubicBezTo>
                    <a:pt x="2320238" y="1287748"/>
                    <a:pt x="2338366" y="1305875"/>
                    <a:pt x="2360740" y="1305875"/>
                  </a:cubicBezTo>
                  <a:lnTo>
                    <a:pt x="2531510" y="1305875"/>
                  </a:lnTo>
                  <a:cubicBezTo>
                    <a:pt x="2553885" y="1305875"/>
                    <a:pt x="2572012" y="1287747"/>
                    <a:pt x="2572012" y="1265373"/>
                  </a:cubicBezTo>
                  <a:lnTo>
                    <a:pt x="2572012" y="899114"/>
                  </a:lnTo>
                  <a:cubicBezTo>
                    <a:pt x="2572012" y="876760"/>
                    <a:pt x="2553884" y="858632"/>
                    <a:pt x="2531510" y="858632"/>
                  </a:cubicBezTo>
                  <a:close/>
                  <a:moveTo>
                    <a:pt x="2491029" y="1224871"/>
                  </a:moveTo>
                  <a:lnTo>
                    <a:pt x="2401282" y="1224871"/>
                  </a:lnTo>
                  <a:lnTo>
                    <a:pt x="2401282" y="939619"/>
                  </a:lnTo>
                  <a:lnTo>
                    <a:pt x="2491029" y="939619"/>
                  </a:lnTo>
                  <a:close/>
                  <a:moveTo>
                    <a:pt x="2197179" y="1040386"/>
                  </a:moveTo>
                  <a:lnTo>
                    <a:pt x="2026430" y="1040386"/>
                  </a:lnTo>
                  <a:cubicBezTo>
                    <a:pt x="2004056" y="1040386"/>
                    <a:pt x="1985929" y="1058514"/>
                    <a:pt x="1985929" y="1080888"/>
                  </a:cubicBezTo>
                  <a:lnTo>
                    <a:pt x="1985929" y="1265394"/>
                  </a:lnTo>
                  <a:cubicBezTo>
                    <a:pt x="1985929" y="1287769"/>
                    <a:pt x="2004056" y="1305896"/>
                    <a:pt x="2026430" y="1305896"/>
                  </a:cubicBezTo>
                  <a:lnTo>
                    <a:pt x="2197179" y="1305896"/>
                  </a:lnTo>
                  <a:cubicBezTo>
                    <a:pt x="2219554" y="1305896"/>
                    <a:pt x="2237681" y="1287768"/>
                    <a:pt x="2237681" y="1265394"/>
                  </a:cubicBezTo>
                  <a:lnTo>
                    <a:pt x="2237681" y="1080888"/>
                  </a:lnTo>
                  <a:cubicBezTo>
                    <a:pt x="2237681" y="1058514"/>
                    <a:pt x="2219553" y="1040386"/>
                    <a:pt x="2197179" y="1040386"/>
                  </a:cubicBezTo>
                  <a:close/>
                  <a:moveTo>
                    <a:pt x="2156677" y="1224871"/>
                  </a:moveTo>
                  <a:lnTo>
                    <a:pt x="2066930" y="1224871"/>
                  </a:lnTo>
                  <a:lnTo>
                    <a:pt x="2066930" y="1121388"/>
                  </a:lnTo>
                  <a:lnTo>
                    <a:pt x="2156677" y="1121388"/>
                  </a:lnTo>
                  <a:close/>
                  <a:moveTo>
                    <a:pt x="2310603" y="757701"/>
                  </a:moveTo>
                  <a:lnTo>
                    <a:pt x="2322474" y="702156"/>
                  </a:lnTo>
                  <a:lnTo>
                    <a:pt x="2077910" y="882064"/>
                  </a:lnTo>
                  <a:cubicBezTo>
                    <a:pt x="2070700" y="887347"/>
                    <a:pt x="2062290" y="889957"/>
                    <a:pt x="2053941" y="889957"/>
                  </a:cubicBezTo>
                  <a:cubicBezTo>
                    <a:pt x="2042671" y="889957"/>
                    <a:pt x="2031545" y="885296"/>
                    <a:pt x="2023590" y="876284"/>
                  </a:cubicBezTo>
                  <a:lnTo>
                    <a:pt x="1886254" y="720969"/>
                  </a:lnTo>
                  <a:lnTo>
                    <a:pt x="1742082" y="817097"/>
                  </a:lnTo>
                  <a:cubicBezTo>
                    <a:pt x="1723498" y="829506"/>
                    <a:pt x="1698327" y="824492"/>
                    <a:pt x="1685938" y="805868"/>
                  </a:cubicBezTo>
                  <a:cubicBezTo>
                    <a:pt x="1673529" y="787243"/>
                    <a:pt x="1678542" y="762113"/>
                    <a:pt x="1697167" y="749724"/>
                  </a:cubicBezTo>
                  <a:lnTo>
                    <a:pt x="1870753" y="634021"/>
                  </a:lnTo>
                  <a:cubicBezTo>
                    <a:pt x="1887617" y="622793"/>
                    <a:pt x="1910136" y="625735"/>
                    <a:pt x="1923560" y="640900"/>
                  </a:cubicBezTo>
                  <a:lnTo>
                    <a:pt x="2059777" y="794931"/>
                  </a:lnTo>
                  <a:lnTo>
                    <a:pt x="2287916" y="627121"/>
                  </a:lnTo>
                  <a:lnTo>
                    <a:pt x="2216132" y="611749"/>
                  </a:lnTo>
                  <a:cubicBezTo>
                    <a:pt x="2194255" y="607088"/>
                    <a:pt x="2180333" y="585542"/>
                    <a:pt x="2185015" y="563665"/>
                  </a:cubicBezTo>
                  <a:cubicBezTo>
                    <a:pt x="2189676" y="541788"/>
                    <a:pt x="2211222" y="527866"/>
                    <a:pt x="2233099" y="532548"/>
                  </a:cubicBezTo>
                  <a:lnTo>
                    <a:pt x="2392954" y="566772"/>
                  </a:lnTo>
                  <a:cubicBezTo>
                    <a:pt x="2403479" y="569030"/>
                    <a:pt x="2412635" y="575349"/>
                    <a:pt x="2418477" y="584382"/>
                  </a:cubicBezTo>
                  <a:cubicBezTo>
                    <a:pt x="2424320" y="593393"/>
                    <a:pt x="2426330" y="604373"/>
                    <a:pt x="2424071" y="614856"/>
                  </a:cubicBezTo>
                  <a:lnTo>
                    <a:pt x="2389847" y="774711"/>
                  </a:lnTo>
                  <a:cubicBezTo>
                    <a:pt x="2385185" y="796589"/>
                    <a:pt x="2363640" y="810510"/>
                    <a:pt x="2341762" y="805829"/>
                  </a:cubicBezTo>
                  <a:cubicBezTo>
                    <a:pt x="2319844" y="801105"/>
                    <a:pt x="2305922" y="779580"/>
                    <a:pt x="2310604" y="757703"/>
                  </a:cubicBezTo>
                  <a:close/>
                  <a:moveTo>
                    <a:pt x="971981" y="477439"/>
                  </a:moveTo>
                  <a:cubicBezTo>
                    <a:pt x="981242" y="457074"/>
                    <a:pt x="1005232" y="448082"/>
                    <a:pt x="1025616" y="457364"/>
                  </a:cubicBezTo>
                  <a:lnTo>
                    <a:pt x="1174429" y="525048"/>
                  </a:lnTo>
                  <a:cubicBezTo>
                    <a:pt x="1194794" y="534308"/>
                    <a:pt x="1203786" y="558340"/>
                    <a:pt x="1194504" y="578683"/>
                  </a:cubicBezTo>
                  <a:lnTo>
                    <a:pt x="1126820" y="727496"/>
                  </a:lnTo>
                  <a:cubicBezTo>
                    <a:pt x="1117539" y="747861"/>
                    <a:pt x="1093528" y="756852"/>
                    <a:pt x="1073185" y="747571"/>
                  </a:cubicBezTo>
                  <a:cubicBezTo>
                    <a:pt x="1052820" y="738310"/>
                    <a:pt x="1043829" y="714279"/>
                    <a:pt x="1053110" y="693936"/>
                  </a:cubicBezTo>
                  <a:lnTo>
                    <a:pt x="1079835" y="635162"/>
                  </a:lnTo>
                  <a:lnTo>
                    <a:pt x="349693" y="915546"/>
                  </a:lnTo>
                  <a:cubicBezTo>
                    <a:pt x="344928" y="917369"/>
                    <a:pt x="340018" y="918239"/>
                    <a:pt x="335190" y="918239"/>
                  </a:cubicBezTo>
                  <a:cubicBezTo>
                    <a:pt x="318928" y="918239"/>
                    <a:pt x="303576" y="908336"/>
                    <a:pt x="297382" y="892260"/>
                  </a:cubicBezTo>
                  <a:cubicBezTo>
                    <a:pt x="289364" y="871377"/>
                    <a:pt x="299785" y="847966"/>
                    <a:pt x="320668" y="839949"/>
                  </a:cubicBezTo>
                  <a:lnTo>
                    <a:pt x="1052932" y="558738"/>
                  </a:lnTo>
                  <a:lnTo>
                    <a:pt x="992105" y="531039"/>
                  </a:lnTo>
                  <a:cubicBezTo>
                    <a:pt x="971678" y="521840"/>
                    <a:pt x="962687" y="497829"/>
                    <a:pt x="971968" y="477446"/>
                  </a:cubicBezTo>
                  <a:close/>
                  <a:moveTo>
                    <a:pt x="1166103" y="858633"/>
                  </a:moveTo>
                  <a:lnTo>
                    <a:pt x="995354" y="858633"/>
                  </a:lnTo>
                  <a:cubicBezTo>
                    <a:pt x="972979" y="858633"/>
                    <a:pt x="954852" y="876761"/>
                    <a:pt x="954852" y="899135"/>
                  </a:cubicBezTo>
                  <a:lnTo>
                    <a:pt x="954852" y="1265373"/>
                  </a:lnTo>
                  <a:cubicBezTo>
                    <a:pt x="954852" y="1287748"/>
                    <a:pt x="972980" y="1305875"/>
                    <a:pt x="995354" y="1305875"/>
                  </a:cubicBezTo>
                  <a:lnTo>
                    <a:pt x="1166103" y="1305875"/>
                  </a:lnTo>
                  <a:cubicBezTo>
                    <a:pt x="1188477" y="1305875"/>
                    <a:pt x="1206604" y="1287747"/>
                    <a:pt x="1206604" y="1265373"/>
                  </a:cubicBezTo>
                  <a:lnTo>
                    <a:pt x="1206604" y="899114"/>
                  </a:lnTo>
                  <a:cubicBezTo>
                    <a:pt x="1206604" y="876760"/>
                    <a:pt x="1188477" y="858632"/>
                    <a:pt x="1166103" y="858632"/>
                  </a:cubicBezTo>
                  <a:close/>
                  <a:moveTo>
                    <a:pt x="1125601" y="1224871"/>
                  </a:moveTo>
                  <a:lnTo>
                    <a:pt x="1035854" y="1224871"/>
                  </a:lnTo>
                  <a:lnTo>
                    <a:pt x="1035854" y="939619"/>
                  </a:lnTo>
                  <a:lnTo>
                    <a:pt x="1125601" y="939619"/>
                  </a:lnTo>
                  <a:close/>
                  <a:moveTo>
                    <a:pt x="831772" y="949499"/>
                  </a:moveTo>
                  <a:lnTo>
                    <a:pt x="661003" y="949499"/>
                  </a:lnTo>
                  <a:cubicBezTo>
                    <a:pt x="638628" y="949499"/>
                    <a:pt x="620501" y="967627"/>
                    <a:pt x="620501" y="990001"/>
                  </a:cubicBezTo>
                  <a:lnTo>
                    <a:pt x="620501" y="1265373"/>
                  </a:lnTo>
                  <a:cubicBezTo>
                    <a:pt x="620501" y="1287748"/>
                    <a:pt x="638629" y="1305875"/>
                    <a:pt x="661003" y="1305875"/>
                  </a:cubicBezTo>
                  <a:lnTo>
                    <a:pt x="831772" y="1305875"/>
                  </a:lnTo>
                  <a:cubicBezTo>
                    <a:pt x="854147" y="1305875"/>
                    <a:pt x="872274" y="1287747"/>
                    <a:pt x="872274" y="1265373"/>
                  </a:cubicBezTo>
                  <a:lnTo>
                    <a:pt x="872274" y="990001"/>
                  </a:lnTo>
                  <a:cubicBezTo>
                    <a:pt x="872254" y="967626"/>
                    <a:pt x="854126" y="949499"/>
                    <a:pt x="831772" y="949499"/>
                  </a:cubicBezTo>
                  <a:close/>
                  <a:moveTo>
                    <a:pt x="791271" y="1224871"/>
                  </a:moveTo>
                  <a:lnTo>
                    <a:pt x="701524" y="1224871"/>
                  </a:lnTo>
                  <a:lnTo>
                    <a:pt x="701524" y="1030485"/>
                  </a:lnTo>
                  <a:lnTo>
                    <a:pt x="791271" y="1030485"/>
                  </a:lnTo>
                  <a:close/>
                  <a:moveTo>
                    <a:pt x="497463" y="1040386"/>
                  </a:moveTo>
                  <a:lnTo>
                    <a:pt x="326715" y="1040386"/>
                  </a:lnTo>
                  <a:cubicBezTo>
                    <a:pt x="304340" y="1040386"/>
                    <a:pt x="286213" y="1058514"/>
                    <a:pt x="286213" y="1080888"/>
                  </a:cubicBezTo>
                  <a:lnTo>
                    <a:pt x="286213" y="1265394"/>
                  </a:lnTo>
                  <a:cubicBezTo>
                    <a:pt x="286213" y="1287769"/>
                    <a:pt x="304341" y="1305896"/>
                    <a:pt x="326715" y="1305896"/>
                  </a:cubicBezTo>
                  <a:lnTo>
                    <a:pt x="497463" y="1305896"/>
                  </a:lnTo>
                  <a:cubicBezTo>
                    <a:pt x="519838" y="1305896"/>
                    <a:pt x="537965" y="1287768"/>
                    <a:pt x="537965" y="1265394"/>
                  </a:cubicBezTo>
                  <a:lnTo>
                    <a:pt x="537965" y="1080888"/>
                  </a:lnTo>
                  <a:cubicBezTo>
                    <a:pt x="537965" y="1058514"/>
                    <a:pt x="519817" y="1040386"/>
                    <a:pt x="497463" y="1040386"/>
                  </a:cubicBezTo>
                  <a:close/>
                  <a:moveTo>
                    <a:pt x="456920" y="1224871"/>
                  </a:moveTo>
                  <a:lnTo>
                    <a:pt x="367173" y="1224871"/>
                  </a:lnTo>
                  <a:lnTo>
                    <a:pt x="367173" y="1121388"/>
                  </a:lnTo>
                  <a:lnTo>
                    <a:pt x="456920" y="112138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9546" name="Freeform: Shape 9545">
            <a:extLst>
              <a:ext uri="{FF2B5EF4-FFF2-40B4-BE49-F238E27FC236}">
                <a16:creationId xmlns:a16="http://schemas.microsoft.com/office/drawing/2014/main" id="{E29E93CA-136F-B81F-27D3-7F69AB541248}"/>
              </a:ext>
            </a:extLst>
          </p:cNvPr>
          <p:cNvSpPr/>
          <p:nvPr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9F7618-98A3-3C7F-4110-E3DBF44F3D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796" r="12510"/>
          <a:stretch/>
        </p:blipFill>
        <p:spPr>
          <a:xfrm>
            <a:off x="7295534" y="1"/>
            <a:ext cx="4896465" cy="6857998"/>
          </a:xfrm>
          <a:prstGeom prst="rect">
            <a:avLst/>
          </a:prstGeom>
        </p:spPr>
      </p:pic>
      <p:sp>
        <p:nvSpPr>
          <p:cNvPr id="9498" name="Google Shape;9498;p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" name="Google Shape;9497;p5">
            <a:extLst>
              <a:ext uri="{FF2B5EF4-FFF2-40B4-BE49-F238E27FC236}">
                <a16:creationId xmlns:a16="http://schemas.microsoft.com/office/drawing/2014/main" id="{C0985640-9605-5009-33B8-6A1FB3C8C6D6}"/>
              </a:ext>
            </a:extLst>
          </p:cNvPr>
          <p:cNvSpPr txBox="1">
            <a:spLocks/>
          </p:cNvSpPr>
          <p:nvPr/>
        </p:nvSpPr>
        <p:spPr>
          <a:xfrm>
            <a:off x="1530271" y="1702797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Introduction and Business Objective</a:t>
            </a:r>
          </a:p>
        </p:txBody>
      </p:sp>
      <p:sp>
        <p:nvSpPr>
          <p:cNvPr id="7" name="Google Shape;9497;p5">
            <a:extLst>
              <a:ext uri="{FF2B5EF4-FFF2-40B4-BE49-F238E27FC236}">
                <a16:creationId xmlns:a16="http://schemas.microsoft.com/office/drawing/2014/main" id="{33939007-5596-F20F-5F2E-47D422C1B727}"/>
              </a:ext>
            </a:extLst>
          </p:cNvPr>
          <p:cNvSpPr txBox="1">
            <a:spLocks/>
          </p:cNvSpPr>
          <p:nvPr/>
        </p:nvSpPr>
        <p:spPr>
          <a:xfrm>
            <a:off x="1530271" y="3801116"/>
            <a:ext cx="5592373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Price Elasticity – Price Optimization Modelling</a:t>
            </a:r>
          </a:p>
        </p:txBody>
      </p:sp>
      <p:sp>
        <p:nvSpPr>
          <p:cNvPr id="8" name="Google Shape;9497;p5">
            <a:extLst>
              <a:ext uri="{FF2B5EF4-FFF2-40B4-BE49-F238E27FC236}">
                <a16:creationId xmlns:a16="http://schemas.microsoft.com/office/drawing/2014/main" id="{E7858EF5-D6D2-3103-A1F9-0B783D30AE54}"/>
              </a:ext>
            </a:extLst>
          </p:cNvPr>
          <p:cNvSpPr txBox="1">
            <a:spLocks/>
          </p:cNvSpPr>
          <p:nvPr/>
        </p:nvSpPr>
        <p:spPr>
          <a:xfrm>
            <a:off x="1530271" y="2829548"/>
            <a:ext cx="576419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Price Elasticity –  Demand Modelling</a:t>
            </a:r>
          </a:p>
        </p:txBody>
      </p:sp>
      <p:sp>
        <p:nvSpPr>
          <p:cNvPr id="9" name="Google Shape;9497;p5">
            <a:extLst>
              <a:ext uri="{FF2B5EF4-FFF2-40B4-BE49-F238E27FC236}">
                <a16:creationId xmlns:a16="http://schemas.microsoft.com/office/drawing/2014/main" id="{5F986B12-1E1D-A9E8-9D9F-4851B7A4EA75}"/>
              </a:ext>
            </a:extLst>
          </p:cNvPr>
          <p:cNvSpPr txBox="1">
            <a:spLocks/>
          </p:cNvSpPr>
          <p:nvPr/>
        </p:nvSpPr>
        <p:spPr>
          <a:xfrm>
            <a:off x="1530271" y="5216339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003455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0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0" y="1724891"/>
            <a:ext cx="8272462" cy="776656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466" y="1897775"/>
            <a:ext cx="7139786" cy="430887"/>
          </a:xfrm>
        </p:spPr>
        <p:txBody>
          <a:bodyPr/>
          <a:lstStyle/>
          <a:p>
            <a:r>
              <a:rPr lang="en-US" sz="2800" b="1" i="0" u="none" strike="noStrike" dirty="0">
                <a:solidFill>
                  <a:srgbClr val="FFFFFF"/>
                </a:solidFill>
                <a:effectLst/>
                <a:latin typeface="Trebuchet MS" panose="020B0603020202020204" pitchFamily="34" charset="0"/>
              </a:rPr>
              <a:t>Introduction and Business Objective</a:t>
            </a:r>
            <a:endParaRPr lang="en-US" sz="28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1A555AA1-26AB-E520-358F-D206741A8A8A}"/>
              </a:ext>
            </a:extLst>
          </p:cNvPr>
          <p:cNvSpPr txBox="1"/>
          <p:nvPr/>
        </p:nvSpPr>
        <p:spPr>
          <a:xfrm>
            <a:off x="355599" y="2719964"/>
            <a:ext cx="11247029" cy="390876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 dirty="0">
                <a:solidFill>
                  <a:srgbClr val="111111"/>
                </a:solidFill>
                <a:latin typeface="Trebuchet MS"/>
              </a:rPr>
              <a:t>Price elasticity of demand is a measurement of the change in the demand for a product in relation to a change in its price. Elastic demand is when the change in demand is large when there is a change in price. Inelastic demand is when the change in demand is small when there is a change in price.</a:t>
            </a:r>
            <a:endParaRPr lang="en-US" sz="1800" dirty="0">
              <a:latin typeface="Trebuchet MS"/>
            </a:endParaRPr>
          </a:p>
          <a:p>
            <a:r>
              <a:rPr lang="en-US" sz="1800" dirty="0">
                <a:solidFill>
                  <a:srgbClr val="111111"/>
                </a:solidFill>
                <a:latin typeface="Trebuchet MS"/>
              </a:rPr>
              <a:t>Knowing the price elasticity of demand for goods allows retailers to make informed decisions about pricing strategies. </a:t>
            </a:r>
          </a:p>
          <a:p>
            <a:endParaRPr lang="en-US" sz="1800" b="1" dirty="0">
              <a:solidFill>
                <a:srgbClr val="800000"/>
              </a:solidFill>
              <a:latin typeface="Trebuchet MS"/>
            </a:endParaRPr>
          </a:p>
          <a:p>
            <a:pPr algn="ctr"/>
            <a:r>
              <a:rPr lang="en-US" sz="1800" b="1" dirty="0">
                <a:solidFill>
                  <a:srgbClr val="800000"/>
                </a:solidFill>
                <a:latin typeface="Trebuchet MS"/>
              </a:rPr>
              <a:t>Factors that influence business pricing strategy:</a:t>
            </a:r>
            <a:endParaRPr lang="en-US" sz="1800" dirty="0">
              <a:solidFill>
                <a:srgbClr val="111111"/>
              </a:solidFill>
              <a:latin typeface="Trebuchet MS"/>
            </a:endParaRP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US" sz="1800" b="1" dirty="0">
              <a:solidFill>
                <a:srgbClr val="800000"/>
              </a:solidFill>
              <a:latin typeface="Trebuchet MS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Variation in Season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Level of Deman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Availability of Produc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Market Tren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Competitor Price</a:t>
            </a:r>
          </a:p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644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5304B8-1CE4-D8A4-5BAC-04123581CC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228" y="827315"/>
            <a:ext cx="5187256" cy="5288036"/>
          </a:xfrm>
          <a:prstGeom prst="rect">
            <a:avLst/>
          </a:prstGeom>
        </p:spPr>
      </p:pic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A067077-D324-8967-73CE-73DB5E260B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8001" y="821634"/>
            <a:ext cx="6071810" cy="184015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4F11D1-025D-4D3B-C62F-972EB9DB3D91}"/>
              </a:ext>
            </a:extLst>
          </p:cNvPr>
          <p:cNvSpPr txBox="1"/>
          <p:nvPr/>
        </p:nvSpPr>
        <p:spPr>
          <a:xfrm>
            <a:off x="5627309" y="2987524"/>
            <a:ext cx="6153452" cy="255454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Char char="•"/>
            </a:pPr>
            <a:r>
              <a:rPr lang="en-US" sz="2000" dirty="0">
                <a:latin typeface="+mn-lt"/>
              </a:rPr>
              <a:t>We can calculate the price change from 8 to 9 in the Denominator.</a:t>
            </a:r>
          </a:p>
          <a:p>
            <a:pPr marL="457200" indent="-457200">
              <a:buChar char="•"/>
            </a:pPr>
            <a:endParaRPr lang="en-US" sz="2000" dirty="0">
              <a:latin typeface="+mn-lt"/>
            </a:endParaRPr>
          </a:p>
          <a:p>
            <a:pPr marL="457200" indent="-457200">
              <a:buChar char="•"/>
            </a:pPr>
            <a:r>
              <a:rPr lang="en-US" sz="2000" dirty="0">
                <a:latin typeface="+mn-lt"/>
              </a:rPr>
              <a:t>The Demand changes 4 to 2 at the Numerator.</a:t>
            </a:r>
          </a:p>
          <a:p>
            <a:pPr marL="457200" indent="-457200">
              <a:buChar char="•"/>
            </a:pPr>
            <a:endParaRPr lang="en-US" sz="2000" dirty="0">
              <a:latin typeface="+mn-lt"/>
            </a:endParaRPr>
          </a:p>
          <a:p>
            <a:pPr marL="457200" indent="-457200">
              <a:buChar char="•"/>
            </a:pPr>
            <a:r>
              <a:rPr lang="en-US" sz="2000" dirty="0">
                <a:latin typeface="+mn-lt"/>
              </a:rPr>
              <a:t>So, after calculating the result is: -5.67. That means when there are 1% increase in Price, the demand dropp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9D7BC9-E5B2-814D-FCEB-D1DFA6CF32C3}"/>
              </a:ext>
            </a:extLst>
          </p:cNvPr>
          <p:cNvSpPr txBox="1"/>
          <p:nvPr/>
        </p:nvSpPr>
        <p:spPr>
          <a:xfrm>
            <a:off x="336706" y="241270"/>
            <a:ext cx="11188095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+mj-lt"/>
              </a:rPr>
              <a:t>Price Elasticity Formula</a:t>
            </a:r>
          </a:p>
        </p:txBody>
      </p:sp>
    </p:spTree>
    <p:extLst>
      <p:ext uri="{BB962C8B-B14F-4D97-AF65-F5344CB8AC3E}">
        <p14:creationId xmlns:p14="http://schemas.microsoft.com/office/powerpoint/2010/main" val="2437414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квиркл">
            <a:extLst>
              <a:ext uri="{FF2B5EF4-FFF2-40B4-BE49-F238E27FC236}">
                <a16:creationId xmlns:a16="http://schemas.microsoft.com/office/drawing/2014/main" id="{1D3FE265-9606-66C4-F890-ECCA8D5ABCBC}"/>
              </a:ext>
            </a:extLst>
          </p:cNvPr>
          <p:cNvSpPr/>
          <p:nvPr/>
        </p:nvSpPr>
        <p:spPr>
          <a:xfrm>
            <a:off x="394357" y="948982"/>
            <a:ext cx="3284025" cy="1368191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127AEAD8-EA32-6F20-AAF0-CC5FA3C81126}"/>
              </a:ext>
            </a:extLst>
          </p:cNvPr>
          <p:cNvSpPr/>
          <p:nvPr/>
        </p:nvSpPr>
        <p:spPr>
          <a:xfrm>
            <a:off x="463371" y="1025054"/>
            <a:ext cx="3092993" cy="272223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DATA SNAPSHOT</a:t>
            </a:r>
          </a:p>
        </p:txBody>
      </p:sp>
      <p:sp>
        <p:nvSpPr>
          <p:cNvPr id="12" name="Сквиркл">
            <a:extLst>
              <a:ext uri="{FF2B5EF4-FFF2-40B4-BE49-F238E27FC236}">
                <a16:creationId xmlns:a16="http://schemas.microsoft.com/office/drawing/2014/main" id="{6CAC119A-B4B9-C719-AD95-09C74FF6FBA1}"/>
              </a:ext>
            </a:extLst>
          </p:cNvPr>
          <p:cNvSpPr/>
          <p:nvPr/>
        </p:nvSpPr>
        <p:spPr>
          <a:xfrm>
            <a:off x="4069352" y="918077"/>
            <a:ext cx="4144404" cy="5324898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24" name="Сквиркл">
            <a:extLst>
              <a:ext uri="{FF2B5EF4-FFF2-40B4-BE49-F238E27FC236}">
                <a16:creationId xmlns:a16="http://schemas.microsoft.com/office/drawing/2014/main" id="{49945243-EC7E-761B-4723-2654CC0229A3}"/>
              </a:ext>
            </a:extLst>
          </p:cNvPr>
          <p:cNvSpPr/>
          <p:nvPr/>
        </p:nvSpPr>
        <p:spPr>
          <a:xfrm>
            <a:off x="8508503" y="886067"/>
            <a:ext cx="3533814" cy="5388919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EB22BCD-6C09-291C-499A-2BB8D023F0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22649" y="4109560"/>
            <a:ext cx="262142" cy="262142"/>
          </a:xfrm>
          <a:prstGeom prst="rect">
            <a:avLst/>
          </a:prstGeom>
        </p:spPr>
      </p:pic>
      <p:sp>
        <p:nvSpPr>
          <p:cNvPr id="9" name="Сквиркл">
            <a:extLst>
              <a:ext uri="{FF2B5EF4-FFF2-40B4-BE49-F238E27FC236}">
                <a16:creationId xmlns:a16="http://schemas.microsoft.com/office/drawing/2014/main" id="{DA2DC9C0-4D70-6169-5CD3-9B8DEA39BB75}"/>
              </a:ext>
            </a:extLst>
          </p:cNvPr>
          <p:cNvSpPr/>
          <p:nvPr/>
        </p:nvSpPr>
        <p:spPr>
          <a:xfrm>
            <a:off x="394357" y="2500022"/>
            <a:ext cx="3284024" cy="3685342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7FF9EE39-B918-C43C-3E16-483AD2E9BC7C}"/>
              </a:ext>
            </a:extLst>
          </p:cNvPr>
          <p:cNvSpPr/>
          <p:nvPr/>
        </p:nvSpPr>
        <p:spPr>
          <a:xfrm flipH="1">
            <a:off x="472538" y="2770326"/>
            <a:ext cx="3205843" cy="273135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MODEL USED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76BE4071-9361-9AA7-5064-02738CD4EF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47417" y="1076399"/>
            <a:ext cx="210718" cy="21071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8200A77-DE9C-ED15-DEC6-9AED3D7552A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4280" y="4153429"/>
            <a:ext cx="189264" cy="189264"/>
          </a:xfrm>
          <a:prstGeom prst="rect">
            <a:avLst/>
          </a:prstGeo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A8B48AC6-7FD0-481A-A7C5-10CEC143F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283126"/>
            <a:ext cx="11480800" cy="738664"/>
          </a:xfr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/>
          <a:p>
            <a:r>
              <a:rPr lang="en-IN" sz="2800" dirty="0"/>
              <a:t>Price Elasticity – Demand Modelling</a:t>
            </a:r>
            <a:br>
              <a:rPr lang="en-IN" sz="2000" dirty="0"/>
            </a:br>
            <a:endParaRPr lang="en-IN" sz="2000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DCBC795C-4E08-47EA-A160-8C9CC70DFB4C}"/>
              </a:ext>
            </a:extLst>
          </p:cNvPr>
          <p:cNvSpPr/>
          <p:nvPr/>
        </p:nvSpPr>
        <p:spPr>
          <a:xfrm flipH="1">
            <a:off x="4264439" y="986509"/>
            <a:ext cx="3834029" cy="279695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OUTPU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E84997-66D5-6450-F9F8-29149389E855}"/>
              </a:ext>
            </a:extLst>
          </p:cNvPr>
          <p:cNvSpPr txBox="1"/>
          <p:nvPr/>
        </p:nvSpPr>
        <p:spPr>
          <a:xfrm>
            <a:off x="463371" y="1411119"/>
            <a:ext cx="3092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latin typeface="+mn-lt"/>
              </a:rPr>
              <a:t>The data set contain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+mn-lt"/>
              </a:rPr>
              <a:t>Price of produ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+mn-lt"/>
              </a:rPr>
              <a:t>Quantity of product sold</a:t>
            </a:r>
            <a:endParaRPr lang="en-US" sz="1200" dirty="0"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2A2D17-4A7B-F9C9-F9DE-A72B8BB5FBEE}"/>
              </a:ext>
            </a:extLst>
          </p:cNvPr>
          <p:cNvSpPr txBox="1"/>
          <p:nvPr/>
        </p:nvSpPr>
        <p:spPr>
          <a:xfrm>
            <a:off x="472538" y="3260195"/>
            <a:ext cx="3083826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GAM Model</a:t>
            </a:r>
          </a:p>
          <a:p>
            <a:pPr algn="l"/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GAM stands for Generalized Additive Models that smoothen the semi-parametric models in the form of:</a:t>
            </a:r>
          </a:p>
          <a:p>
            <a:pPr algn="l"/>
            <a:endParaRPr lang="en-US" sz="120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+mn-lt"/>
            </a:endParaRPr>
          </a:p>
          <a:p>
            <a:pPr algn="l"/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g(E[y|X])=β0+f1(X1)+f2(X2,X3)+…+</a:t>
            </a:r>
            <a:r>
              <a:rPr lang="en-US" sz="1200" i="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fM</a:t>
            </a: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(XN) , where</a:t>
            </a:r>
            <a:r>
              <a:rPr lang="en-US" sz="1200" dirty="0">
                <a:highlight>
                  <a:srgbClr val="FFFFFF"/>
                </a:highlight>
                <a:latin typeface="+mn-lt"/>
              </a:rPr>
              <a:t>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dirty="0">
              <a:highlight>
                <a:srgbClr val="FFFFFF"/>
              </a:highlight>
              <a:latin typeface="+mn-lt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 X.T = [X_1, X_2, ..., X_N] are the independent variabl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y is the dependent variabl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function g() is the link function that relates to the predictor variable. 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A8E591-4742-2AC1-AA2B-674562146E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32110" y="2244984"/>
            <a:ext cx="3927781" cy="2527075"/>
          </a:xfrm>
          <a:prstGeom prst="rect">
            <a:avLst/>
          </a:prstGeom>
        </p:spPr>
      </p:pic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6D953930-5250-E391-D42A-6023FD66BF59}"/>
              </a:ext>
            </a:extLst>
          </p:cNvPr>
          <p:cNvSpPr/>
          <p:nvPr/>
        </p:nvSpPr>
        <p:spPr>
          <a:xfrm>
            <a:off x="8679539" y="1014894"/>
            <a:ext cx="3092993" cy="272223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IN" sz="1200" dirty="0">
                <a:solidFill>
                  <a:srgbClr val="FFFFFF"/>
                </a:solidFill>
                <a:latin typeface="Trebuchet MS" panose="020B0603020202020204"/>
              </a:rPr>
              <a:t>O</a:t>
            </a:r>
            <a:r>
              <a:rPr lang="en-US" sz="1200" dirty="0">
                <a:solidFill>
                  <a:srgbClr val="FFFFFF"/>
                </a:solidFill>
                <a:latin typeface="Trebuchet MS" panose="020B0603020202020204"/>
              </a:rPr>
              <a:t>BSERVA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B5B2A8-60C9-F38A-69F1-61AF6E071877}"/>
              </a:ext>
            </a:extLst>
          </p:cNvPr>
          <p:cNvSpPr txBox="1"/>
          <p:nvPr/>
        </p:nvSpPr>
        <p:spPr>
          <a:xfrm>
            <a:off x="2410691" y="6067443"/>
            <a:ext cx="2732945" cy="494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31A383-6AC5-3742-C2C6-8A1CE5532492}"/>
              </a:ext>
            </a:extLst>
          </p:cNvPr>
          <p:cNvSpPr txBox="1"/>
          <p:nvPr/>
        </p:nvSpPr>
        <p:spPr>
          <a:xfrm>
            <a:off x="8679539" y="1494506"/>
            <a:ext cx="315686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enefits Of GAMs &amp; Insights-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sz="1200" dirty="0"/>
              <a:t>Quantile GAMs take into account Changing Variance- Allowing us to take into account the BEST and the WORST Case Scenarios in Price Optimization Scenarios. </a:t>
            </a:r>
          </a:p>
          <a:p>
            <a:r>
              <a:rPr lang="en-US" sz="1200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From the Prediction we can see that the Blue Line – The Quantile for the Lowest/Minimum of our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e Orange Line tracks the median of the data &amp; the Green Line for the Maximu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 We can Track the Upper &amp; Lower Bounds because, in the Real-world scenario, the median can divide the data into Best-worst-case scenarios so that the Business can guess the exact estimation for that. </a:t>
            </a:r>
          </a:p>
        </p:txBody>
      </p:sp>
    </p:spTree>
    <p:extLst>
      <p:ext uri="{BB962C8B-B14F-4D97-AF65-F5344CB8AC3E}">
        <p14:creationId xmlns:p14="http://schemas.microsoft.com/office/powerpoint/2010/main" val="3294403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квиркл">
            <a:extLst>
              <a:ext uri="{FF2B5EF4-FFF2-40B4-BE49-F238E27FC236}">
                <a16:creationId xmlns:a16="http://schemas.microsoft.com/office/drawing/2014/main" id="{1D3FE265-9606-66C4-F890-ECCA8D5ABCBC}"/>
              </a:ext>
            </a:extLst>
          </p:cNvPr>
          <p:cNvSpPr/>
          <p:nvPr/>
        </p:nvSpPr>
        <p:spPr>
          <a:xfrm>
            <a:off x="205347" y="853957"/>
            <a:ext cx="3186809" cy="4238226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127AEAD8-EA32-6F20-AAF0-CC5FA3C81126}"/>
              </a:ext>
            </a:extLst>
          </p:cNvPr>
          <p:cNvSpPr/>
          <p:nvPr/>
        </p:nvSpPr>
        <p:spPr>
          <a:xfrm>
            <a:off x="356837" y="1000160"/>
            <a:ext cx="2883828" cy="259715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  <a:sym typeface="Arial"/>
              </a:rPr>
              <a:t>DATA SNAPSHOT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EB22BCD-6C09-291C-499A-2BB8D023F0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22649" y="4109560"/>
            <a:ext cx="262142" cy="262142"/>
          </a:xfrm>
          <a:prstGeom prst="rect">
            <a:avLst/>
          </a:prstGeom>
        </p:spPr>
      </p:pic>
      <p:sp>
        <p:nvSpPr>
          <p:cNvPr id="9" name="Сквиркл">
            <a:extLst>
              <a:ext uri="{FF2B5EF4-FFF2-40B4-BE49-F238E27FC236}">
                <a16:creationId xmlns:a16="http://schemas.microsoft.com/office/drawing/2014/main" id="{DA2DC9C0-4D70-6169-5CD3-9B8DEA39BB75}"/>
              </a:ext>
            </a:extLst>
          </p:cNvPr>
          <p:cNvSpPr/>
          <p:nvPr/>
        </p:nvSpPr>
        <p:spPr>
          <a:xfrm>
            <a:off x="246416" y="5157305"/>
            <a:ext cx="3113270" cy="931465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7FF9EE39-B918-C43C-3E16-483AD2E9BC7C}"/>
              </a:ext>
            </a:extLst>
          </p:cNvPr>
          <p:cNvSpPr/>
          <p:nvPr/>
        </p:nvSpPr>
        <p:spPr>
          <a:xfrm flipH="1">
            <a:off x="324367" y="5287548"/>
            <a:ext cx="2948770" cy="24910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  <a:sym typeface="Arial"/>
              </a:rPr>
              <a:t>MODEL USED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8200A77-DE9C-ED15-DEC6-9AED3D7552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24280" y="4153429"/>
            <a:ext cx="189264" cy="189264"/>
          </a:xfrm>
          <a:prstGeom prst="rect">
            <a:avLst/>
          </a:prstGeo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A8B48AC6-7FD0-481A-A7C5-10CEC143F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347" y="261496"/>
            <a:ext cx="11480800" cy="738664"/>
          </a:xfr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/>
          <a:p>
            <a:r>
              <a:rPr lang="en-IN" sz="2800" dirty="0">
                <a:latin typeface="+mj-lt"/>
                <a:cs typeface="Arial" panose="020B0604020202020204" pitchFamily="34" charset="0"/>
              </a:rPr>
              <a:t>Price Elasticity – Optimization Modelling</a:t>
            </a:r>
            <a:br>
              <a:rPr lang="en-IN" sz="2000" dirty="0">
                <a:latin typeface="+mj-lt"/>
              </a:rPr>
            </a:br>
            <a:endParaRPr lang="en-IN" sz="2000" dirty="0">
              <a:latin typeface="+mj-lt"/>
            </a:endParaRP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sym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716B80-A7A1-A434-A9D2-861933A8CF68}"/>
              </a:ext>
            </a:extLst>
          </p:cNvPr>
          <p:cNvSpPr txBox="1"/>
          <p:nvPr/>
        </p:nvSpPr>
        <p:spPr>
          <a:xfrm>
            <a:off x="389309" y="5657273"/>
            <a:ext cx="161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+mn-lt"/>
              </a:rPr>
              <a:t>XGBoo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D40FCE-86F2-A81D-51FA-2BF7CC0CA55C}"/>
              </a:ext>
            </a:extLst>
          </p:cNvPr>
          <p:cNvSpPr txBox="1"/>
          <p:nvPr/>
        </p:nvSpPr>
        <p:spPr>
          <a:xfrm>
            <a:off x="324367" y="1348704"/>
            <a:ext cx="288382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e have used a historical Airline data with featured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.  Duration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.  Pric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3.  Days Before Flight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4.  Arrival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5.  Departure Tim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6.  Time of Arrival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7.  Stops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.  Journey Day Nam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9.   Non-Stop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0. Journey Day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1.  Arrival Category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2.  Departure Time in Hour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ink: 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https://www.kaggle.com/code/sridharstreaks/airfare-price-prediction/input?select=Scraped_dataset.csv</a:t>
            </a:r>
            <a:endParaRPr lang="en-US" sz="1200" dirty="0">
              <a:solidFill>
                <a:srgbClr val="03030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квиркл">
            <a:extLst>
              <a:ext uri="{FF2B5EF4-FFF2-40B4-BE49-F238E27FC236}">
                <a16:creationId xmlns:a16="http://schemas.microsoft.com/office/drawing/2014/main" id="{2A072FB5-55F9-2AAA-9FE5-B953FBEB0143}"/>
              </a:ext>
            </a:extLst>
          </p:cNvPr>
          <p:cNvSpPr/>
          <p:nvPr/>
        </p:nvSpPr>
        <p:spPr>
          <a:xfrm>
            <a:off x="3612352" y="1000160"/>
            <a:ext cx="4144404" cy="5131484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5BBFB194-6816-6329-28ED-3AE3200EA409}"/>
              </a:ext>
            </a:extLst>
          </p:cNvPr>
          <p:cNvSpPr/>
          <p:nvPr/>
        </p:nvSpPr>
        <p:spPr>
          <a:xfrm flipH="1">
            <a:off x="3824153" y="1000160"/>
            <a:ext cx="3834029" cy="279695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OUTPUT / </a:t>
            </a:r>
            <a:r>
              <a:rPr lang="en-US" sz="1200" dirty="0">
                <a:solidFill>
                  <a:srgbClr val="FFFFFF"/>
                </a:solidFill>
                <a:latin typeface="Trebuchet MS" panose="020B0603020202020204"/>
              </a:rPr>
              <a:t>FEATURE IMPORTANCE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sp>
        <p:nvSpPr>
          <p:cNvPr id="6" name="Сквиркл">
            <a:extLst>
              <a:ext uri="{FF2B5EF4-FFF2-40B4-BE49-F238E27FC236}">
                <a16:creationId xmlns:a16="http://schemas.microsoft.com/office/drawing/2014/main" id="{8EBEAD2A-076C-A1F5-A1C3-16934E7778D6}"/>
              </a:ext>
            </a:extLst>
          </p:cNvPr>
          <p:cNvSpPr/>
          <p:nvPr/>
        </p:nvSpPr>
        <p:spPr>
          <a:xfrm>
            <a:off x="8068569" y="853957"/>
            <a:ext cx="3617578" cy="5147763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F3676DB-7FD3-C0E1-598B-182F90649568}"/>
              </a:ext>
            </a:extLst>
          </p:cNvPr>
          <p:cNvSpPr/>
          <p:nvPr/>
        </p:nvSpPr>
        <p:spPr>
          <a:xfrm>
            <a:off x="8253720" y="1004990"/>
            <a:ext cx="3092993" cy="272223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IN" sz="1200" dirty="0">
                <a:solidFill>
                  <a:srgbClr val="FFFFFF"/>
                </a:solidFill>
                <a:latin typeface="Trebuchet MS" panose="020B0603020202020204"/>
              </a:rPr>
              <a:t>O</a:t>
            </a:r>
            <a:r>
              <a:rPr lang="en-US" sz="1200" dirty="0">
                <a:solidFill>
                  <a:srgbClr val="FFFFFF"/>
                </a:solidFill>
                <a:latin typeface="Trebuchet MS" panose="020B0603020202020204"/>
              </a:rPr>
              <a:t>BSERVA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AFF112-1E5D-A53E-B6CD-D08F07C2D3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66825" y="1555584"/>
            <a:ext cx="4208017" cy="2297973"/>
          </a:xfrm>
          <a:prstGeom prst="rect">
            <a:avLst/>
          </a:prstGeom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C81B9639-A5E0-29AF-6FB5-D70D649ACE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4281" y="4415039"/>
            <a:ext cx="3418738" cy="55399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venue before optimization: 378994.97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venue after optimization: 454793.96191406244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2EBD5E-A5C7-AD48-97AF-B1D100BFD3A3}"/>
              </a:ext>
            </a:extLst>
          </p:cNvPr>
          <p:cNvSpPr txBox="1"/>
          <p:nvPr/>
        </p:nvSpPr>
        <p:spPr>
          <a:xfrm>
            <a:off x="8287434" y="1626496"/>
            <a:ext cx="3156862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 our Objective function we define the business goal.: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If the goal is to maximize revenue, then the objective function could be the overall revenue generated from selling tickets to the customer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Constraints : These are the limitations for real- world price optimization and the requirements that should be considered when to determine the price optimiz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These constraints include maximum &amp; minimum prices of tickets, available inventory, number of seats left, Days left before travel, or any other business constraints related to busines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649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0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0" y="1724891"/>
            <a:ext cx="8272462" cy="776656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466" y="1897775"/>
            <a:ext cx="7139786" cy="430887"/>
          </a:xfrm>
        </p:spPr>
        <p:txBody>
          <a:bodyPr/>
          <a:lstStyle/>
          <a:p>
            <a:r>
              <a:rPr lang="en-IN" sz="2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onclusion</a:t>
            </a:r>
            <a:endParaRPr lang="en-US" sz="28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4003B1DA-3783-D65A-56B7-A27E5221075D}"/>
              </a:ext>
            </a:extLst>
          </p:cNvPr>
          <p:cNvSpPr txBox="1">
            <a:spLocks/>
          </p:cNvSpPr>
          <p:nvPr/>
        </p:nvSpPr>
        <p:spPr>
          <a:xfrm>
            <a:off x="707923" y="2674431"/>
            <a:ext cx="10844980" cy="301621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defRPr/>
            </a:pPr>
            <a:endParaRPr lang="en-US" sz="1600" b="0" dirty="0">
              <a:solidFill>
                <a:srgbClr val="23232D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sz="1600" b="0" i="0" dirty="0">
              <a:solidFill>
                <a:srgbClr val="23232D"/>
              </a:solidFill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This </a:t>
            </a: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project </a:t>
            </a: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allows us to identify relationships between Price and Demand, whi</a:t>
            </a: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ch in turn will help to :</a:t>
            </a:r>
          </a:p>
          <a:p>
            <a:pPr>
              <a:defRPr/>
            </a:pPr>
            <a:endParaRPr lang="en-US" sz="2000" b="0" dirty="0">
              <a:solidFill>
                <a:srgbClr val="23232D"/>
              </a:solidFill>
              <a:highlight>
                <a:srgbClr val="FFFFFF"/>
              </a:highlight>
              <a:latin typeface="+mn-lt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Maximize revenue by properly pricing the products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M</a:t>
            </a: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onitor price elasticities for changes in price and demand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R</a:t>
            </a: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educe manual processes to obtain and update price elasticities. </a:t>
            </a:r>
          </a:p>
          <a:p>
            <a:pPr>
              <a:defRPr/>
            </a:pPr>
            <a:endParaRPr lang="en-US" sz="1600" b="0" dirty="0">
              <a:solidFill>
                <a:srgbClr val="23232D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1600" b="0" dirty="0">
              <a:solidFill>
                <a:srgbClr val="23232D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IN" sz="1200" b="0" dirty="0" err="1">
                <a:solidFill>
                  <a:srgbClr val="242424"/>
                </a:solidFill>
                <a:latin typeface="Arial"/>
              </a:rPr>
              <a:t>Github</a:t>
            </a:r>
            <a:r>
              <a:rPr lang="en-IN" sz="1200" b="0" dirty="0">
                <a:solidFill>
                  <a:srgbClr val="242424"/>
                </a:solidFill>
                <a:latin typeface="Arial"/>
              </a:rPr>
              <a:t>: </a:t>
            </a:r>
            <a:r>
              <a:rPr lang="en-IN" sz="1200" b="0" dirty="0">
                <a:solidFill>
                  <a:srgbClr val="242424"/>
                </a:solidFill>
                <a:latin typeface="Arial"/>
                <a:hlinkClick r:id="rId3"/>
              </a:rPr>
              <a:t>https://github.com/ds-stratgic-work/Price-Elasticity-Demand.git</a:t>
            </a:r>
            <a:r>
              <a:rPr lang="en-IN" sz="1200" b="0" dirty="0">
                <a:solidFill>
                  <a:srgbClr val="242424"/>
                </a:solidFill>
                <a:latin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2371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3FD7F-6A14-1306-ECAD-EF7F93F83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F3FD7F-6A14-1306-ECAD-EF7F93F8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9C1B125F-7FB8-4135-B066-C9B08774D8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55" name="Google Shape;3755;p1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756" name="Google Shape;3756;p13"/>
          <p:cNvSpPr txBox="1"/>
          <p:nvPr/>
        </p:nvSpPr>
        <p:spPr>
          <a:xfrm>
            <a:off x="599587" y="1600903"/>
            <a:ext cx="502405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Trebuchet MS"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Thank You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3756;p13">
            <a:extLst>
              <a:ext uri="{FF2B5EF4-FFF2-40B4-BE49-F238E27FC236}">
                <a16:creationId xmlns:a16="http://schemas.microsoft.com/office/drawing/2014/main" id="{2F2136A6-5F15-A918-B211-A768C33FA785}"/>
              </a:ext>
            </a:extLst>
          </p:cNvPr>
          <p:cNvSpPr txBox="1"/>
          <p:nvPr/>
        </p:nvSpPr>
        <p:spPr>
          <a:xfrm>
            <a:off x="599587" y="3867802"/>
            <a:ext cx="4883991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Outcome-Oriented AI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ueled by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nnovative Experimentatio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3190;p3">
            <a:extLst>
              <a:ext uri="{FF2B5EF4-FFF2-40B4-BE49-F238E27FC236}">
                <a16:creationId xmlns:a16="http://schemas.microsoft.com/office/drawing/2014/main" id="{C2EE17B4-DF0B-19A9-93DE-5EA1DB5040A7}"/>
              </a:ext>
            </a:extLst>
          </p:cNvPr>
          <p:cNvSpPr/>
          <p:nvPr/>
        </p:nvSpPr>
        <p:spPr>
          <a:xfrm flipH="1">
            <a:off x="659478" y="3040223"/>
            <a:ext cx="8799445" cy="517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rebuchet MS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Sights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is a data tech specialist with a vision to create value through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0354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FECCD0-F6CD-E2D8-B34A-B0B55C858E73}"/>
              </a:ext>
            </a:extLst>
          </p:cNvPr>
          <p:cNvCxnSpPr>
            <a:cxnSpLocks/>
          </p:cNvCxnSpPr>
          <p:nvPr/>
        </p:nvCxnSpPr>
        <p:spPr>
          <a:xfrm>
            <a:off x="724796" y="3726704"/>
            <a:ext cx="5576949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oogle Shape;1091;p52">
            <a:extLst>
              <a:ext uri="{FF2B5EF4-FFF2-40B4-BE49-F238E27FC236}">
                <a16:creationId xmlns:a16="http://schemas.microsoft.com/office/drawing/2014/main" id="{DE7C33D7-4A4F-B4BB-89B2-C58509D8AE01}"/>
              </a:ext>
            </a:extLst>
          </p:cNvPr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7" y="494781"/>
            <a:ext cx="1321097" cy="3980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31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E379E2436A64596D003B14963E0BA" ma:contentTypeVersion="0" ma:contentTypeDescription="Create a new document." ma:contentTypeScope="" ma:versionID="b11a9bb1d4b5abf642b3099d0b7085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3f9ca9ed2b1b526ffdf70859b84e62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75B928-AFD3-4052-A916-B15CED624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C4E4E58-B45F-4A33-8310-8124205F3B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99</TotalTime>
  <Words>710</Words>
  <Application>Microsoft Office PowerPoint</Application>
  <PresentationFormat>Widescreen</PresentationFormat>
  <Paragraphs>9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entury Gothic</vt:lpstr>
      <vt:lpstr>Trebuchet MS</vt:lpstr>
      <vt:lpstr>Wingdings</vt:lpstr>
      <vt:lpstr>1_Office Theme</vt:lpstr>
      <vt:lpstr>2_Office Theme</vt:lpstr>
      <vt:lpstr>think-cell Slide</vt:lpstr>
      <vt:lpstr>PowerPoint Presentation</vt:lpstr>
      <vt:lpstr>Table Of Contents</vt:lpstr>
      <vt:lpstr>Introduction and Business Objective</vt:lpstr>
      <vt:lpstr>PowerPoint Presentation</vt:lpstr>
      <vt:lpstr>Price Elasticity – Demand Modelling </vt:lpstr>
      <vt:lpstr>Price Elasticity – Optimization Modelling 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ights: Your Data Science Partner</dc:title>
  <dc:creator>Juby Panokkaran</dc:creator>
  <cp:lastModifiedBy>Sarmita Majumdar</cp:lastModifiedBy>
  <cp:revision>374</cp:revision>
  <dcterms:created xsi:type="dcterms:W3CDTF">2022-04-11T12:34:12Z</dcterms:created>
  <dcterms:modified xsi:type="dcterms:W3CDTF">2024-05-13T04:1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10702</vt:lpwstr>
  </property>
</Properties>
</file>